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93455" r:id="rId4"/>
    <p:sldMasterId id="2147493480" r:id="rId5"/>
  </p:sldMasterIdLst>
  <p:notesMasterIdLst>
    <p:notesMasterId r:id="rId16"/>
  </p:notesMasterIdLst>
  <p:sldIdLst>
    <p:sldId id="282" r:id="rId6"/>
    <p:sldId id="356" r:id="rId7"/>
    <p:sldId id="347" r:id="rId8"/>
    <p:sldId id="341" r:id="rId9"/>
    <p:sldId id="338" r:id="rId10"/>
    <p:sldId id="349" r:id="rId11"/>
    <p:sldId id="350" r:id="rId12"/>
    <p:sldId id="353" r:id="rId13"/>
    <p:sldId id="354" r:id="rId14"/>
    <p:sldId id="264" r:id="rId15"/>
  </p:sldIdLst>
  <p:sldSz cx="9144000" cy="5143500" type="screen16x9"/>
  <p:notesSz cx="6858000" cy="9144000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3CFE1"/>
    <a:srgbClr val="6F8DB9"/>
    <a:srgbClr val="4C6C9C"/>
    <a:srgbClr val="8064A2"/>
    <a:srgbClr val="9BBB59"/>
    <a:srgbClr val="F79646"/>
    <a:srgbClr val="4BACC6"/>
    <a:srgbClr val="969696"/>
    <a:srgbClr val="C0504D"/>
    <a:srgbClr val="0000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096" autoAdjust="0"/>
    <p:restoredTop sz="94665"/>
  </p:normalViewPr>
  <p:slideViewPr>
    <p:cSldViewPr snapToGrid="0" snapToObjects="1">
      <p:cViewPr varScale="1">
        <p:scale>
          <a:sx n="113" d="100"/>
          <a:sy n="113" d="100"/>
        </p:scale>
        <p:origin x="120" y="354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9" d="100"/>
        <a:sy n="149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2779552715654952E-2"/>
          <c:y val="5.1181102362204724E-2"/>
          <c:w val="0.9744408945686901"/>
          <c:h val="0.8976377952755905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国内猫超</c:v>
                </c:pt>
              </c:strCache>
            </c:strRef>
          </c:tx>
          <c:spPr>
            <a:solidFill>
              <a:srgbClr val="4C6C9C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DD7-4329-B0ED-6A04B5DD93BE}"/>
              </c:ext>
            </c:extLst>
          </c:dPt>
          <c:cat>
            <c:strRef>
              <c:f>Sheet1!$A$2:$A$18</c:f>
              <c:strCache>
                <c:ptCount val="17"/>
                <c:pt idx="0">
                  <c:v>MAT22</c:v>
                </c:pt>
                <c:pt idx="1">
                  <c:v>MAT23</c:v>
                </c:pt>
                <c:pt idx="3">
                  <c:v>MAT22</c:v>
                </c:pt>
                <c:pt idx="4">
                  <c:v>MAT23</c:v>
                </c:pt>
                <c:pt idx="6">
                  <c:v>MAT22</c:v>
                </c:pt>
                <c:pt idx="7">
                  <c:v>MAT23</c:v>
                </c:pt>
                <c:pt idx="9">
                  <c:v>MAT22</c:v>
                </c:pt>
                <c:pt idx="10">
                  <c:v>MAT23</c:v>
                </c:pt>
                <c:pt idx="12">
                  <c:v>MAT22</c:v>
                </c:pt>
                <c:pt idx="13">
                  <c:v>MAT23</c:v>
                </c:pt>
                <c:pt idx="15">
                  <c:v>MAT22</c:v>
                </c:pt>
                <c:pt idx="16">
                  <c:v>MAT23</c:v>
                </c:pt>
              </c:strCache>
            </c:str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13.09</c:v>
                </c:pt>
                <c:pt idx="1">
                  <c:v>10.85</c:v>
                </c:pt>
                <c:pt idx="3">
                  <c:v>12.61</c:v>
                </c:pt>
                <c:pt idx="4">
                  <c:v>11.48</c:v>
                </c:pt>
                <c:pt idx="6">
                  <c:v>12.14</c:v>
                </c:pt>
                <c:pt idx="7">
                  <c:v>11.12</c:v>
                </c:pt>
                <c:pt idx="10">
                  <c:v>7.84</c:v>
                </c:pt>
                <c:pt idx="12">
                  <c:v>13.96</c:v>
                </c:pt>
                <c:pt idx="13">
                  <c:v>13.29</c:v>
                </c:pt>
                <c:pt idx="16">
                  <c:v>14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DD7-4329-B0ED-6A04B5DD93B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国内天猫(旗舰店+分销店)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cat>
            <c:strRef>
              <c:f>Sheet1!$A$2:$A$18</c:f>
              <c:strCache>
                <c:ptCount val="17"/>
                <c:pt idx="0">
                  <c:v>MAT22</c:v>
                </c:pt>
                <c:pt idx="1">
                  <c:v>MAT23</c:v>
                </c:pt>
                <c:pt idx="3">
                  <c:v>MAT22</c:v>
                </c:pt>
                <c:pt idx="4">
                  <c:v>MAT23</c:v>
                </c:pt>
                <c:pt idx="6">
                  <c:v>MAT22</c:v>
                </c:pt>
                <c:pt idx="7">
                  <c:v>MAT23</c:v>
                </c:pt>
                <c:pt idx="9">
                  <c:v>MAT22</c:v>
                </c:pt>
                <c:pt idx="10">
                  <c:v>MAT23</c:v>
                </c:pt>
                <c:pt idx="12">
                  <c:v>MAT22</c:v>
                </c:pt>
                <c:pt idx="13">
                  <c:v>MAT23</c:v>
                </c:pt>
                <c:pt idx="15">
                  <c:v>MAT22</c:v>
                </c:pt>
                <c:pt idx="16">
                  <c:v>MAT23</c:v>
                </c:pt>
              </c:strCache>
            </c:strRef>
          </c:cat>
          <c:val>
            <c:numRef>
              <c:f>Sheet1!$C$2:$C$18</c:f>
              <c:numCache>
                <c:formatCode>General</c:formatCode>
                <c:ptCount val="17"/>
                <c:pt idx="0">
                  <c:v>23.2</c:v>
                </c:pt>
                <c:pt idx="1">
                  <c:v>19.57</c:v>
                </c:pt>
                <c:pt idx="3">
                  <c:v>21.85</c:v>
                </c:pt>
                <c:pt idx="4">
                  <c:v>19.13</c:v>
                </c:pt>
                <c:pt idx="6">
                  <c:v>23.13</c:v>
                </c:pt>
                <c:pt idx="7">
                  <c:v>19.96</c:v>
                </c:pt>
                <c:pt idx="10">
                  <c:v>40.76</c:v>
                </c:pt>
                <c:pt idx="12">
                  <c:v>18.18</c:v>
                </c:pt>
                <c:pt idx="13">
                  <c:v>9.3800000000000008</c:v>
                </c:pt>
                <c:pt idx="16">
                  <c:v>20.05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DD7-4329-B0ED-6A04B5DD93B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京东(国内自营+国内POP)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9DD7-4329-B0ED-6A04B5DD93BE}"/>
              </c:ext>
            </c:extLst>
          </c:dPt>
          <c:cat>
            <c:strRef>
              <c:f>Sheet1!$A$2:$A$18</c:f>
              <c:strCache>
                <c:ptCount val="17"/>
                <c:pt idx="0">
                  <c:v>MAT22</c:v>
                </c:pt>
                <c:pt idx="1">
                  <c:v>MAT23</c:v>
                </c:pt>
                <c:pt idx="3">
                  <c:v>MAT22</c:v>
                </c:pt>
                <c:pt idx="4">
                  <c:v>MAT23</c:v>
                </c:pt>
                <c:pt idx="6">
                  <c:v>MAT22</c:v>
                </c:pt>
                <c:pt idx="7">
                  <c:v>MAT23</c:v>
                </c:pt>
                <c:pt idx="9">
                  <c:v>MAT22</c:v>
                </c:pt>
                <c:pt idx="10">
                  <c:v>MAT23</c:v>
                </c:pt>
                <c:pt idx="12">
                  <c:v>MAT22</c:v>
                </c:pt>
                <c:pt idx="13">
                  <c:v>MAT23</c:v>
                </c:pt>
                <c:pt idx="15">
                  <c:v>MAT22</c:v>
                </c:pt>
                <c:pt idx="16">
                  <c:v>MAT23</c:v>
                </c:pt>
              </c:strCache>
            </c:strRef>
          </c:cat>
          <c:val>
            <c:numRef>
              <c:f>Sheet1!$D$2:$D$18</c:f>
              <c:numCache>
                <c:formatCode>General</c:formatCode>
                <c:ptCount val="17"/>
                <c:pt idx="0">
                  <c:v>63.71</c:v>
                </c:pt>
                <c:pt idx="1">
                  <c:v>69.58</c:v>
                </c:pt>
                <c:pt idx="3">
                  <c:v>65.540000000000006</c:v>
                </c:pt>
                <c:pt idx="4">
                  <c:v>69.39</c:v>
                </c:pt>
                <c:pt idx="6">
                  <c:v>64.73</c:v>
                </c:pt>
                <c:pt idx="7">
                  <c:v>68.92</c:v>
                </c:pt>
                <c:pt idx="10">
                  <c:v>51.4</c:v>
                </c:pt>
                <c:pt idx="12">
                  <c:v>67.849999999999994</c:v>
                </c:pt>
                <c:pt idx="13">
                  <c:v>77.33</c:v>
                </c:pt>
                <c:pt idx="16">
                  <c:v>65.76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DD7-4329-B0ED-6A04B5DD93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2066080"/>
        <c:axId val="1"/>
      </c:barChart>
      <c:catAx>
        <c:axId val="620660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2066080"/>
        <c:crosses val="min"/>
        <c:crossBetween val="between"/>
      </c:valAx>
      <c:spPr>
        <a:noFill/>
        <a:ln w="25400">
          <a:noFill/>
        </a:ln>
      </c:spPr>
    </c:plotArea>
    <c:plotVisOnly val="0"/>
    <c:dispBlanksAs val="gap"/>
    <c:showDLblsOverMax val="1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2779552715654952E-2"/>
          <c:y val="5.1181102362204724E-2"/>
          <c:w val="0.9744408945686901"/>
          <c:h val="0.8976377952755905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国内猫超</c:v>
                </c:pt>
              </c:strCache>
            </c:strRef>
          </c:tx>
          <c:spPr>
            <a:solidFill>
              <a:srgbClr val="4C6C9C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550-4953-AB85-F83F941B5040}"/>
              </c:ext>
            </c:extLst>
          </c:dPt>
          <c:cat>
            <c:strRef>
              <c:f>Sheet1!$A$2:$A$18</c:f>
              <c:strCache>
                <c:ptCount val="17"/>
                <c:pt idx="0">
                  <c:v>MAT22</c:v>
                </c:pt>
                <c:pt idx="1">
                  <c:v>MAT23</c:v>
                </c:pt>
                <c:pt idx="3">
                  <c:v>MAT22</c:v>
                </c:pt>
                <c:pt idx="4">
                  <c:v>MAT23</c:v>
                </c:pt>
                <c:pt idx="6">
                  <c:v>MAT22</c:v>
                </c:pt>
                <c:pt idx="7">
                  <c:v>MAT23</c:v>
                </c:pt>
                <c:pt idx="9">
                  <c:v>MAT22</c:v>
                </c:pt>
                <c:pt idx="10">
                  <c:v>MAT23</c:v>
                </c:pt>
                <c:pt idx="12">
                  <c:v>MAT22</c:v>
                </c:pt>
                <c:pt idx="13">
                  <c:v>MAT23</c:v>
                </c:pt>
                <c:pt idx="15">
                  <c:v>MAT22</c:v>
                </c:pt>
                <c:pt idx="16">
                  <c:v>MAT23</c:v>
                </c:pt>
              </c:strCache>
            </c:str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13.66</c:v>
                </c:pt>
                <c:pt idx="1">
                  <c:v>11.67</c:v>
                </c:pt>
                <c:pt idx="3">
                  <c:v>12.55</c:v>
                </c:pt>
                <c:pt idx="4">
                  <c:v>11.81</c:v>
                </c:pt>
                <c:pt idx="6">
                  <c:v>11.82</c:v>
                </c:pt>
                <c:pt idx="7">
                  <c:v>11.17</c:v>
                </c:pt>
                <c:pt idx="10">
                  <c:v>7.68</c:v>
                </c:pt>
                <c:pt idx="12">
                  <c:v>13.39</c:v>
                </c:pt>
                <c:pt idx="13">
                  <c:v>13.02</c:v>
                </c:pt>
                <c:pt idx="16">
                  <c:v>14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550-4953-AB85-F83F941B504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国内天猫(旗舰店+分销店)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cat>
            <c:strRef>
              <c:f>Sheet1!$A$2:$A$18</c:f>
              <c:strCache>
                <c:ptCount val="17"/>
                <c:pt idx="0">
                  <c:v>MAT22</c:v>
                </c:pt>
                <c:pt idx="1">
                  <c:v>MAT23</c:v>
                </c:pt>
                <c:pt idx="3">
                  <c:v>MAT22</c:v>
                </c:pt>
                <c:pt idx="4">
                  <c:v>MAT23</c:v>
                </c:pt>
                <c:pt idx="6">
                  <c:v>MAT22</c:v>
                </c:pt>
                <c:pt idx="7">
                  <c:v>MAT23</c:v>
                </c:pt>
                <c:pt idx="9">
                  <c:v>MAT22</c:v>
                </c:pt>
                <c:pt idx="10">
                  <c:v>MAT23</c:v>
                </c:pt>
                <c:pt idx="12">
                  <c:v>MAT22</c:v>
                </c:pt>
                <c:pt idx="13">
                  <c:v>MAT23</c:v>
                </c:pt>
                <c:pt idx="15">
                  <c:v>MAT22</c:v>
                </c:pt>
                <c:pt idx="16">
                  <c:v>MAT23</c:v>
                </c:pt>
              </c:strCache>
            </c:strRef>
          </c:cat>
          <c:val>
            <c:numRef>
              <c:f>Sheet1!$C$2:$C$18</c:f>
              <c:numCache>
                <c:formatCode>General</c:formatCode>
                <c:ptCount val="17"/>
                <c:pt idx="0">
                  <c:v>23.64</c:v>
                </c:pt>
                <c:pt idx="1">
                  <c:v>19.3</c:v>
                </c:pt>
                <c:pt idx="3">
                  <c:v>20.97</c:v>
                </c:pt>
                <c:pt idx="4">
                  <c:v>17.47</c:v>
                </c:pt>
                <c:pt idx="6">
                  <c:v>22.96</c:v>
                </c:pt>
                <c:pt idx="7">
                  <c:v>19.14</c:v>
                </c:pt>
                <c:pt idx="10">
                  <c:v>40.29</c:v>
                </c:pt>
                <c:pt idx="12">
                  <c:v>18.63</c:v>
                </c:pt>
                <c:pt idx="13">
                  <c:v>9.01</c:v>
                </c:pt>
                <c:pt idx="16">
                  <c:v>18.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50-4953-AB85-F83F941B504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京东(国内自营+国内POP)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7550-4953-AB85-F83F941B5040}"/>
              </c:ext>
            </c:extLst>
          </c:dPt>
          <c:cat>
            <c:strRef>
              <c:f>Sheet1!$A$2:$A$18</c:f>
              <c:strCache>
                <c:ptCount val="17"/>
                <c:pt idx="0">
                  <c:v>MAT22</c:v>
                </c:pt>
                <c:pt idx="1">
                  <c:v>MAT23</c:v>
                </c:pt>
                <c:pt idx="3">
                  <c:v>MAT22</c:v>
                </c:pt>
                <c:pt idx="4">
                  <c:v>MAT23</c:v>
                </c:pt>
                <c:pt idx="6">
                  <c:v>MAT22</c:v>
                </c:pt>
                <c:pt idx="7">
                  <c:v>MAT23</c:v>
                </c:pt>
                <c:pt idx="9">
                  <c:v>MAT22</c:v>
                </c:pt>
                <c:pt idx="10">
                  <c:v>MAT23</c:v>
                </c:pt>
                <c:pt idx="12">
                  <c:v>MAT22</c:v>
                </c:pt>
                <c:pt idx="13">
                  <c:v>MAT23</c:v>
                </c:pt>
                <c:pt idx="15">
                  <c:v>MAT22</c:v>
                </c:pt>
                <c:pt idx="16">
                  <c:v>MAT23</c:v>
                </c:pt>
              </c:strCache>
            </c:strRef>
          </c:cat>
          <c:val>
            <c:numRef>
              <c:f>Sheet1!$D$2:$D$18</c:f>
              <c:numCache>
                <c:formatCode>General</c:formatCode>
                <c:ptCount val="17"/>
                <c:pt idx="0">
                  <c:v>62.7</c:v>
                </c:pt>
                <c:pt idx="1">
                  <c:v>69.02</c:v>
                </c:pt>
                <c:pt idx="3">
                  <c:v>66.489999999999995</c:v>
                </c:pt>
                <c:pt idx="4">
                  <c:v>70.72</c:v>
                </c:pt>
                <c:pt idx="6">
                  <c:v>65.22</c:v>
                </c:pt>
                <c:pt idx="7">
                  <c:v>69.69</c:v>
                </c:pt>
                <c:pt idx="10">
                  <c:v>52.03</c:v>
                </c:pt>
                <c:pt idx="12">
                  <c:v>67.97</c:v>
                </c:pt>
                <c:pt idx="13">
                  <c:v>77.98</c:v>
                </c:pt>
                <c:pt idx="16">
                  <c:v>66.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550-4953-AB85-F83F941B50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2066080"/>
        <c:axId val="1"/>
      </c:barChart>
      <c:catAx>
        <c:axId val="620660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2066080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2779552715654952E-2"/>
          <c:y val="6.1032863849765258E-2"/>
          <c:w val="0.9744408945686901"/>
          <c:h val="0.87793427230046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5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953-4392-9CBA-C7BF11584867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MAT Oct22</c:v>
                </c:pt>
                <c:pt idx="1">
                  <c:v>MAT Oct23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7.11</c:v>
                </c:pt>
                <c:pt idx="1">
                  <c:v>14.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953-4392-9CBA-C7BF1158486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 4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4953-4392-9CBA-C7BF11584867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MAT Oct22</c:v>
                </c:pt>
                <c:pt idx="1">
                  <c:v>MAT Oct23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18.23</c:v>
                </c:pt>
                <c:pt idx="1">
                  <c:v>21.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953-4392-9CBA-C7BF1158486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系列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vertOverflow="overflow" horzOverflow="overflow" wrap="square" lIns="0" tIns="0" rIns="0" bIns="0" anchor="ctr">
                  <a:noAutofit/>
                </a:bodyPr>
                <a:lstStyle/>
                <a:p>
                  <a:pPr>
                    <a:defRPr sz="1200" b="0"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680-4E46-94EE-74AB127818FC}"/>
                </c:ext>
              </c:extLst>
            </c:dLbl>
            <c:dLbl>
              <c:idx val="1"/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vertOverflow="overflow" horzOverflow="overflow" wrap="square" lIns="0" tIns="0" rIns="0" bIns="0" anchor="ctr">
                  <a:noAutofit/>
                </a:bodyPr>
                <a:lstStyle/>
                <a:p>
                  <a:pPr>
                    <a:defRPr sz="1200" b="0"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2680-4E46-94EE-74AB127818FC}"/>
                </c:ext>
              </c:extLst>
            </c:dLbl>
            <c:numFmt formatCode="#,##0.0&quot;%&quot;;&quot;-&quot;#,##0.0&quot;%&quot;" sourceLinked="0"/>
            <c:spPr>
              <a:noFill/>
              <a:ln>
                <a:noFill/>
              </a:ln>
              <a:effectLst/>
            </c:spPr>
            <c:txPr>
              <a:bodyPr vertOverflow="overflow" horzOverflow="overflow" wrap="square" lIns="0" tIns="0" rIns="0" bIns="0" anchor="ctr">
                <a:spAutoFit/>
              </a:bodyPr>
              <a:lstStyle/>
              <a:p>
                <a:pPr>
                  <a:defRPr sz="1200" b="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MAT Oct22</c:v>
                </c:pt>
                <c:pt idx="1">
                  <c:v>MAT Oct23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34.75</c:v>
                </c:pt>
                <c:pt idx="1">
                  <c:v>36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953-4392-9CBA-C7BF1158486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系列 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6F8DB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4953-4392-9CBA-C7BF11584867}"/>
              </c:ext>
            </c:extLst>
          </c:dPt>
          <c:dLbls>
            <c:dLbl>
              <c:idx val="0"/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wrap="square" lIns="0" tIns="0" rIns="0" bIns="0" anchor="ctr">
                  <a:noAutofit/>
                </a:bodyPr>
                <a:lstStyle/>
                <a:p>
                  <a:pPr>
                    <a:defRPr sz="1200" b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680-4E46-94EE-74AB127818FC}"/>
                </c:ext>
              </c:extLst>
            </c:dLbl>
            <c:dLbl>
              <c:idx val="1"/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wrap="square" lIns="0" tIns="0" rIns="0" bIns="0" anchor="ctr">
                  <a:noAutofit/>
                </a:bodyPr>
                <a:lstStyle/>
                <a:p>
                  <a:pPr>
                    <a:defRPr sz="1200" b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680-4E46-94EE-74AB127818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0" tIns="0" rIns="0" bIns="0" anchor="ctr">
                <a:spAutoFit/>
              </a:bodyPr>
              <a:lstStyle/>
              <a:p>
                <a:pPr>
                  <a:defRPr sz="1200" b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MAT Oct22</c:v>
                </c:pt>
                <c:pt idx="1">
                  <c:v>MAT Oct23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29.91</c:v>
                </c:pt>
                <c:pt idx="1">
                  <c:v>27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953-4392-9CBA-C7BF1158486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4953-4392-9CBA-C7BF11584867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MAT Oct22</c:v>
                </c:pt>
                <c:pt idx="1">
                  <c:v>MAT Oct23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0.01</c:v>
                </c:pt>
                <c:pt idx="1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953-4392-9CBA-C7BF1158486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100"/>
        <c:axId val="40728032"/>
        <c:axId val="1"/>
      </c:barChart>
      <c:catAx>
        <c:axId val="407280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0728032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2779552715654952E-2"/>
          <c:y val="6.1032863849765258E-2"/>
          <c:w val="0.9744408945686901"/>
          <c:h val="0.87793427230046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5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98A-4AC6-B8C9-138A33BD9B5B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17.11</c:v>
                </c:pt>
                <c:pt idx="1">
                  <c:v>14.82</c:v>
                </c:pt>
                <c:pt idx="3">
                  <c:v>18.79</c:v>
                </c:pt>
                <c:pt idx="4">
                  <c:v>6.78</c:v>
                </c:pt>
                <c:pt idx="6">
                  <c:v>0.01</c:v>
                </c:pt>
                <c:pt idx="7">
                  <c:v>0.02</c:v>
                </c:pt>
                <c:pt idx="10">
                  <c:v>0</c:v>
                </c:pt>
                <c:pt idx="12">
                  <c:v>72.599999999999994</c:v>
                </c:pt>
                <c:pt idx="13">
                  <c:v>67.58</c:v>
                </c:pt>
                <c:pt idx="16">
                  <c:v>18.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8A-4AC6-B8C9-138A33BD9B5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4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F98A-4AC6-B8C9-138A33BD9B5B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C$2:$C$18</c:f>
              <c:numCache>
                <c:formatCode>General</c:formatCode>
                <c:ptCount val="17"/>
                <c:pt idx="0">
                  <c:v>18.23</c:v>
                </c:pt>
                <c:pt idx="1">
                  <c:v>21.56</c:v>
                </c:pt>
                <c:pt idx="3">
                  <c:v>5.95</c:v>
                </c:pt>
                <c:pt idx="4">
                  <c:v>6.02</c:v>
                </c:pt>
                <c:pt idx="6">
                  <c:v>0.01</c:v>
                </c:pt>
                <c:pt idx="7">
                  <c:v>0.02</c:v>
                </c:pt>
                <c:pt idx="10">
                  <c:v>0</c:v>
                </c:pt>
                <c:pt idx="12">
                  <c:v>22.98</c:v>
                </c:pt>
                <c:pt idx="13">
                  <c:v>30.99</c:v>
                </c:pt>
                <c:pt idx="16">
                  <c:v>55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98A-4AC6-B8C9-138A33BD9B5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系列3</c:v>
                </c:pt>
              </c:strCache>
            </c:strRef>
          </c:tx>
          <c:spPr>
            <a:solidFill>
              <a:srgbClr val="9BBB59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D$2:$D$18</c:f>
              <c:numCache>
                <c:formatCode>General</c:formatCode>
                <c:ptCount val="17"/>
                <c:pt idx="0">
                  <c:v>34.75</c:v>
                </c:pt>
                <c:pt idx="1">
                  <c:v>36.22</c:v>
                </c:pt>
                <c:pt idx="3">
                  <c:v>4.0199999999999996</c:v>
                </c:pt>
                <c:pt idx="4">
                  <c:v>7.41</c:v>
                </c:pt>
                <c:pt idx="6">
                  <c:v>4.92</c:v>
                </c:pt>
                <c:pt idx="7">
                  <c:v>6.84</c:v>
                </c:pt>
                <c:pt idx="10">
                  <c:v>0</c:v>
                </c:pt>
                <c:pt idx="12">
                  <c:v>1.42</c:v>
                </c:pt>
                <c:pt idx="13">
                  <c:v>0.34</c:v>
                </c:pt>
                <c:pt idx="16">
                  <c:v>25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98A-4AC6-B8C9-138A33BD9B5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系列2</c:v>
                </c:pt>
              </c:strCache>
            </c:strRef>
          </c:tx>
          <c:spPr>
            <a:solidFill>
              <a:srgbClr val="8064A2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F98A-4AC6-B8C9-138A33BD9B5B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E$2:$E$18</c:f>
              <c:numCache>
                <c:formatCode>General</c:formatCode>
                <c:ptCount val="17"/>
                <c:pt idx="0">
                  <c:v>29.91</c:v>
                </c:pt>
                <c:pt idx="1">
                  <c:v>27.33</c:v>
                </c:pt>
                <c:pt idx="3">
                  <c:v>71.239999999999995</c:v>
                </c:pt>
                <c:pt idx="4">
                  <c:v>79.760000000000005</c:v>
                </c:pt>
                <c:pt idx="6">
                  <c:v>95.05</c:v>
                </c:pt>
                <c:pt idx="7">
                  <c:v>93.11</c:v>
                </c:pt>
                <c:pt idx="10">
                  <c:v>100</c:v>
                </c:pt>
                <c:pt idx="12">
                  <c:v>3</c:v>
                </c:pt>
                <c:pt idx="13">
                  <c:v>0.73</c:v>
                </c:pt>
                <c:pt idx="16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98A-4AC6-B8C9-138A33BD9B5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系列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F98A-4AC6-B8C9-138A33BD9B5B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F$2:$F$18</c:f>
              <c:numCache>
                <c:formatCode>General</c:formatCode>
                <c:ptCount val="17"/>
                <c:pt idx="0">
                  <c:v>0.01</c:v>
                </c:pt>
                <c:pt idx="1">
                  <c:v>7.0000000000000007E-2</c:v>
                </c:pt>
                <c:pt idx="3">
                  <c:v>0</c:v>
                </c:pt>
                <c:pt idx="4">
                  <c:v>0.03</c:v>
                </c:pt>
                <c:pt idx="6">
                  <c:v>0</c:v>
                </c:pt>
                <c:pt idx="7">
                  <c:v>0</c:v>
                </c:pt>
                <c:pt idx="10">
                  <c:v>0</c:v>
                </c:pt>
                <c:pt idx="12">
                  <c:v>0</c:v>
                </c:pt>
                <c:pt idx="13">
                  <c:v>0.36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F98A-4AC6-B8C9-138A33BD9B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0728032"/>
        <c:axId val="1"/>
      </c:barChart>
      <c:catAx>
        <c:axId val="407280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0728032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3057851239669422E-2"/>
          <c:y val="3.3483580167417898E-2"/>
          <c:w val="0.93388429752066116"/>
          <c:h val="0.9330328396651641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0</c:v>
                </c:pt>
                <c:pt idx="1">
                  <c:v>0</c:v>
                </c:pt>
                <c:pt idx="3">
                  <c:v>0</c:v>
                </c:pt>
                <c:pt idx="4">
                  <c:v>0</c:v>
                </c:pt>
                <c:pt idx="6">
                  <c:v>0</c:v>
                </c:pt>
                <c:pt idx="7">
                  <c:v>0</c:v>
                </c:pt>
                <c:pt idx="10">
                  <c:v>0</c:v>
                </c:pt>
                <c:pt idx="12">
                  <c:v>0</c:v>
                </c:pt>
                <c:pt idx="13">
                  <c:v>0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F4-4DB6-889C-AFE84C8B404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2</c:v>
                </c:pt>
              </c:strCache>
            </c:strRef>
          </c:tx>
          <c:spPr>
            <a:solidFill>
              <a:srgbClr val="8064A2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C$2:$C$18</c:f>
              <c:numCache>
                <c:formatCode>General</c:formatCode>
                <c:ptCount val="17"/>
                <c:pt idx="0">
                  <c:v>18.46</c:v>
                </c:pt>
                <c:pt idx="1">
                  <c:v>17.18</c:v>
                </c:pt>
                <c:pt idx="3">
                  <c:v>50.69</c:v>
                </c:pt>
                <c:pt idx="4">
                  <c:v>68.17</c:v>
                </c:pt>
                <c:pt idx="6">
                  <c:v>93.82</c:v>
                </c:pt>
                <c:pt idx="7">
                  <c:v>91.67</c:v>
                </c:pt>
                <c:pt idx="10">
                  <c:v>100</c:v>
                </c:pt>
                <c:pt idx="12">
                  <c:v>0.08</c:v>
                </c:pt>
                <c:pt idx="13">
                  <c:v>0.32</c:v>
                </c:pt>
                <c:pt idx="16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F4-4DB6-889C-AFE84C8B40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系列3</c:v>
                </c:pt>
              </c:strCache>
            </c:strRef>
          </c:tx>
          <c:spPr>
            <a:solidFill>
              <a:srgbClr val="9BBB59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D$2:$D$18</c:f>
              <c:numCache>
                <c:formatCode>General</c:formatCode>
                <c:ptCount val="17"/>
                <c:pt idx="0">
                  <c:v>28.65</c:v>
                </c:pt>
                <c:pt idx="1">
                  <c:v>30.75</c:v>
                </c:pt>
                <c:pt idx="3">
                  <c:v>3.67</c:v>
                </c:pt>
                <c:pt idx="4">
                  <c:v>7.93</c:v>
                </c:pt>
                <c:pt idx="6">
                  <c:v>6.11</c:v>
                </c:pt>
                <c:pt idx="7">
                  <c:v>8.23</c:v>
                </c:pt>
                <c:pt idx="10">
                  <c:v>0</c:v>
                </c:pt>
                <c:pt idx="12">
                  <c:v>0.8</c:v>
                </c:pt>
                <c:pt idx="13">
                  <c:v>0.22</c:v>
                </c:pt>
                <c:pt idx="16">
                  <c:v>19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AF4-4DB6-889C-AFE84C8B404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系列4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E$2:$E$18</c:f>
              <c:numCache>
                <c:formatCode>General</c:formatCode>
                <c:ptCount val="17"/>
                <c:pt idx="0">
                  <c:v>20.72</c:v>
                </c:pt>
                <c:pt idx="1">
                  <c:v>24.29</c:v>
                </c:pt>
                <c:pt idx="3">
                  <c:v>8.26</c:v>
                </c:pt>
                <c:pt idx="4">
                  <c:v>9.58</c:v>
                </c:pt>
                <c:pt idx="6">
                  <c:v>0.02</c:v>
                </c:pt>
                <c:pt idx="7">
                  <c:v>0.04</c:v>
                </c:pt>
                <c:pt idx="10">
                  <c:v>0</c:v>
                </c:pt>
                <c:pt idx="12">
                  <c:v>17.93</c:v>
                </c:pt>
                <c:pt idx="13">
                  <c:v>26.24</c:v>
                </c:pt>
                <c:pt idx="16">
                  <c:v>56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AF4-4DB6-889C-AFE84C8B404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系列5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F$2:$F$18</c:f>
              <c:numCache>
                <c:formatCode>General</c:formatCode>
                <c:ptCount val="17"/>
                <c:pt idx="0">
                  <c:v>32.17</c:v>
                </c:pt>
                <c:pt idx="1">
                  <c:v>27.78</c:v>
                </c:pt>
                <c:pt idx="3">
                  <c:v>37.380000000000003</c:v>
                </c:pt>
                <c:pt idx="4">
                  <c:v>14.32</c:v>
                </c:pt>
                <c:pt idx="6">
                  <c:v>0.05</c:v>
                </c:pt>
                <c:pt idx="7">
                  <c:v>0.06</c:v>
                </c:pt>
                <c:pt idx="10">
                  <c:v>0</c:v>
                </c:pt>
                <c:pt idx="12">
                  <c:v>81.19</c:v>
                </c:pt>
                <c:pt idx="13">
                  <c:v>73.23</c:v>
                </c:pt>
                <c:pt idx="16">
                  <c:v>2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AF4-4DB6-889C-AFE84C8B40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95723760"/>
        <c:axId val="1"/>
      </c:barChart>
      <c:catAx>
        <c:axId val="2957237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95723760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3057851239669422E-2"/>
          <c:y val="3.3483580167417898E-2"/>
          <c:w val="0.93388429752066116"/>
          <c:h val="0.93303283966516415"/>
        </c:manualLayout>
      </c:layout>
      <c:barChart>
        <c:barDir val="col"/>
        <c:grouping val="stacked"/>
        <c:varyColors val="0"/>
        <c:ser>
          <c:idx val="5"/>
          <c:order val="0"/>
          <c:tx>
            <c:strRef>
              <c:f>Sheet1!$B$1</c:f>
              <c:strCache>
                <c:ptCount val="1"/>
                <c:pt idx="0">
                  <c:v>系列6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D40-4C1E-B6DF-ED20CB32B3B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D40-4C1E-B6DF-ED20CB32B3BC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0.92</c:v>
                </c:pt>
                <c:pt idx="1">
                  <c:v>0.74</c:v>
                </c:pt>
                <c:pt idx="3">
                  <c:v>0.86</c:v>
                </c:pt>
                <c:pt idx="4">
                  <c:v>0.06</c:v>
                </c:pt>
                <c:pt idx="6">
                  <c:v>0.01</c:v>
                </c:pt>
                <c:pt idx="7">
                  <c:v>0</c:v>
                </c:pt>
                <c:pt idx="10">
                  <c:v>0</c:v>
                </c:pt>
                <c:pt idx="12">
                  <c:v>3.3</c:v>
                </c:pt>
                <c:pt idx="13">
                  <c:v>0.76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D40-4C1E-B6DF-ED20CB32B3BC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系列5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C$2:$C$18</c:f>
              <c:numCache>
                <c:formatCode>General</c:formatCode>
                <c:ptCount val="17"/>
                <c:pt idx="0">
                  <c:v>0.03</c:v>
                </c:pt>
                <c:pt idx="1">
                  <c:v>0.03</c:v>
                </c:pt>
                <c:pt idx="3">
                  <c:v>0</c:v>
                </c:pt>
                <c:pt idx="4">
                  <c:v>0</c:v>
                </c:pt>
                <c:pt idx="6">
                  <c:v>0</c:v>
                </c:pt>
                <c:pt idx="7">
                  <c:v>0</c:v>
                </c:pt>
                <c:pt idx="10">
                  <c:v>0</c:v>
                </c:pt>
                <c:pt idx="12">
                  <c:v>0</c:v>
                </c:pt>
                <c:pt idx="13">
                  <c:v>0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D40-4C1E-B6DF-ED20CB32B3BC}"/>
            </c:ext>
          </c:extLst>
        </c:ser>
        <c:ser>
          <c:idx val="1"/>
          <c:order val="2"/>
          <c:tx>
            <c:strRef>
              <c:f>Sheet1!$D$1</c:f>
              <c:strCache>
                <c:ptCount val="1"/>
                <c:pt idx="0">
                  <c:v>系列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D$2:$D$18</c:f>
              <c:numCache>
                <c:formatCode>General</c:formatCode>
                <c:ptCount val="17"/>
                <c:pt idx="0">
                  <c:v>13.53</c:v>
                </c:pt>
                <c:pt idx="1">
                  <c:v>12.48</c:v>
                </c:pt>
                <c:pt idx="3">
                  <c:v>6.11</c:v>
                </c:pt>
                <c:pt idx="4">
                  <c:v>4.7699999999999996</c:v>
                </c:pt>
                <c:pt idx="6">
                  <c:v>3.48</c:v>
                </c:pt>
                <c:pt idx="7">
                  <c:v>3.66</c:v>
                </c:pt>
                <c:pt idx="10">
                  <c:v>100</c:v>
                </c:pt>
                <c:pt idx="12">
                  <c:v>13.63</c:v>
                </c:pt>
                <c:pt idx="13">
                  <c:v>13.14</c:v>
                </c:pt>
                <c:pt idx="16">
                  <c:v>5.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D40-4C1E-B6DF-ED20CB32B3BC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系列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E$2:$E$18</c:f>
              <c:numCache>
                <c:formatCode>General</c:formatCode>
                <c:ptCount val="17"/>
                <c:pt idx="0">
                  <c:v>54.19</c:v>
                </c:pt>
                <c:pt idx="1">
                  <c:v>53.38</c:v>
                </c:pt>
                <c:pt idx="3">
                  <c:v>42.98</c:v>
                </c:pt>
                <c:pt idx="4">
                  <c:v>46.9</c:v>
                </c:pt>
                <c:pt idx="6">
                  <c:v>39.07</c:v>
                </c:pt>
                <c:pt idx="7">
                  <c:v>45.44</c:v>
                </c:pt>
                <c:pt idx="10">
                  <c:v>0</c:v>
                </c:pt>
                <c:pt idx="12">
                  <c:v>54.18</c:v>
                </c:pt>
                <c:pt idx="13">
                  <c:v>53.58</c:v>
                </c:pt>
                <c:pt idx="16">
                  <c:v>59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D40-4C1E-B6DF-ED20CB32B3BC}"/>
            </c:ext>
          </c:extLst>
        </c:ser>
        <c:ser>
          <c:idx val="3"/>
          <c:order val="4"/>
          <c:tx>
            <c:strRef>
              <c:f>Sheet1!$F$1</c:f>
              <c:strCache>
                <c:ptCount val="1"/>
                <c:pt idx="0">
                  <c:v>系列2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F$2:$F$18</c:f>
              <c:numCache>
                <c:formatCode>General</c:formatCode>
                <c:ptCount val="17"/>
                <c:pt idx="0">
                  <c:v>18.88</c:v>
                </c:pt>
                <c:pt idx="1">
                  <c:v>19.66</c:v>
                </c:pt>
                <c:pt idx="3">
                  <c:v>36.57</c:v>
                </c:pt>
                <c:pt idx="4">
                  <c:v>33.33</c:v>
                </c:pt>
                <c:pt idx="6">
                  <c:v>42.2</c:v>
                </c:pt>
                <c:pt idx="7">
                  <c:v>35.19</c:v>
                </c:pt>
                <c:pt idx="10">
                  <c:v>0</c:v>
                </c:pt>
                <c:pt idx="12">
                  <c:v>20.45</c:v>
                </c:pt>
                <c:pt idx="13">
                  <c:v>23.88</c:v>
                </c:pt>
                <c:pt idx="16">
                  <c:v>21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D40-4C1E-B6DF-ED20CB32B3BC}"/>
            </c:ext>
          </c:extLst>
        </c:ser>
        <c:ser>
          <c:idx val="4"/>
          <c:order val="5"/>
          <c:tx>
            <c:strRef>
              <c:f>Sheet1!$G$1</c:f>
              <c:strCache>
                <c:ptCount val="1"/>
                <c:pt idx="0">
                  <c:v>系列1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G$2:$G$18</c:f>
              <c:numCache>
                <c:formatCode>General</c:formatCode>
                <c:ptCount val="17"/>
                <c:pt idx="0">
                  <c:v>12.44</c:v>
                </c:pt>
                <c:pt idx="1">
                  <c:v>13.71</c:v>
                </c:pt>
                <c:pt idx="3">
                  <c:v>13.48</c:v>
                </c:pt>
                <c:pt idx="4">
                  <c:v>14.94</c:v>
                </c:pt>
                <c:pt idx="6">
                  <c:v>15.24</c:v>
                </c:pt>
                <c:pt idx="7">
                  <c:v>15.71</c:v>
                </c:pt>
                <c:pt idx="10">
                  <c:v>0</c:v>
                </c:pt>
                <c:pt idx="12">
                  <c:v>8.44</c:v>
                </c:pt>
                <c:pt idx="13">
                  <c:v>8.64</c:v>
                </c:pt>
                <c:pt idx="16">
                  <c:v>1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D40-4C1E-B6DF-ED20CB32B3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95723760"/>
        <c:axId val="1"/>
      </c:barChart>
      <c:catAx>
        <c:axId val="2957237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95723760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3057851239669422E-2"/>
          <c:y val="3.3483580167417898E-2"/>
          <c:w val="0.93388429752066116"/>
          <c:h val="0.93303283966516415"/>
        </c:manualLayout>
      </c:layout>
      <c:barChart>
        <c:barDir val="col"/>
        <c:grouping val="stacked"/>
        <c:varyColors val="0"/>
        <c:ser>
          <c:idx val="5"/>
          <c:order val="0"/>
          <c:tx>
            <c:strRef>
              <c:f>Sheet1!$B$1</c:f>
              <c:strCache>
                <c:ptCount val="1"/>
                <c:pt idx="0">
                  <c:v>系列6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784-4907-8353-C7A636EC473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784-4907-8353-C7A636EC4735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1.1499999999999999</c:v>
                </c:pt>
                <c:pt idx="1">
                  <c:v>1.18</c:v>
                </c:pt>
                <c:pt idx="3">
                  <c:v>0.26</c:v>
                </c:pt>
                <c:pt idx="4">
                  <c:v>0.05</c:v>
                </c:pt>
                <c:pt idx="6">
                  <c:v>0.03</c:v>
                </c:pt>
                <c:pt idx="7">
                  <c:v>0</c:v>
                </c:pt>
                <c:pt idx="10">
                  <c:v>0</c:v>
                </c:pt>
                <c:pt idx="12">
                  <c:v>0.54</c:v>
                </c:pt>
                <c:pt idx="13">
                  <c:v>0.3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784-4907-8353-C7A636EC4735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系列5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C$2:$C$18</c:f>
              <c:numCache>
                <c:formatCode>General</c:formatCode>
                <c:ptCount val="17"/>
                <c:pt idx="0">
                  <c:v>7.0000000000000007E-2</c:v>
                </c:pt>
                <c:pt idx="1">
                  <c:v>0.09</c:v>
                </c:pt>
                <c:pt idx="3">
                  <c:v>0</c:v>
                </c:pt>
                <c:pt idx="4">
                  <c:v>0</c:v>
                </c:pt>
                <c:pt idx="6">
                  <c:v>0</c:v>
                </c:pt>
                <c:pt idx="7">
                  <c:v>0</c:v>
                </c:pt>
                <c:pt idx="10">
                  <c:v>0</c:v>
                </c:pt>
                <c:pt idx="12">
                  <c:v>0</c:v>
                </c:pt>
                <c:pt idx="13">
                  <c:v>0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784-4907-8353-C7A636EC4735}"/>
            </c:ext>
          </c:extLst>
        </c:ser>
        <c:ser>
          <c:idx val="1"/>
          <c:order val="2"/>
          <c:tx>
            <c:strRef>
              <c:f>Sheet1!$D$1</c:f>
              <c:strCache>
                <c:ptCount val="1"/>
                <c:pt idx="0">
                  <c:v>系列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D$2:$D$18</c:f>
              <c:numCache>
                <c:formatCode>General</c:formatCode>
                <c:ptCount val="17"/>
                <c:pt idx="0">
                  <c:v>18.23</c:v>
                </c:pt>
                <c:pt idx="1">
                  <c:v>16.64</c:v>
                </c:pt>
                <c:pt idx="3">
                  <c:v>9.24</c:v>
                </c:pt>
                <c:pt idx="4">
                  <c:v>6.55</c:v>
                </c:pt>
                <c:pt idx="6">
                  <c:v>4.28</c:v>
                </c:pt>
                <c:pt idx="7">
                  <c:v>4.45</c:v>
                </c:pt>
                <c:pt idx="10">
                  <c:v>100</c:v>
                </c:pt>
                <c:pt idx="12">
                  <c:v>15.05</c:v>
                </c:pt>
                <c:pt idx="13">
                  <c:v>14.22</c:v>
                </c:pt>
                <c:pt idx="16">
                  <c:v>7.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784-4907-8353-C7A636EC4735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系列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E$2:$E$18</c:f>
              <c:numCache>
                <c:formatCode>General</c:formatCode>
                <c:ptCount val="17"/>
                <c:pt idx="0">
                  <c:v>55.52</c:v>
                </c:pt>
                <c:pt idx="1">
                  <c:v>54.75</c:v>
                </c:pt>
                <c:pt idx="3">
                  <c:v>49.8</c:v>
                </c:pt>
                <c:pt idx="4">
                  <c:v>51.11</c:v>
                </c:pt>
                <c:pt idx="6">
                  <c:v>41.74</c:v>
                </c:pt>
                <c:pt idx="7">
                  <c:v>48.48</c:v>
                </c:pt>
                <c:pt idx="10">
                  <c:v>0</c:v>
                </c:pt>
                <c:pt idx="12">
                  <c:v>59.26</c:v>
                </c:pt>
                <c:pt idx="13">
                  <c:v>56.6</c:v>
                </c:pt>
                <c:pt idx="16">
                  <c:v>63.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784-4907-8353-C7A636EC4735}"/>
            </c:ext>
          </c:extLst>
        </c:ser>
        <c:ser>
          <c:idx val="3"/>
          <c:order val="4"/>
          <c:tx>
            <c:strRef>
              <c:f>Sheet1!$F$1</c:f>
              <c:strCache>
                <c:ptCount val="1"/>
                <c:pt idx="0">
                  <c:v>系列2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F$2:$F$18</c:f>
              <c:numCache>
                <c:formatCode>General</c:formatCode>
                <c:ptCount val="17"/>
                <c:pt idx="0">
                  <c:v>15.5</c:v>
                </c:pt>
                <c:pt idx="1">
                  <c:v>16.52</c:v>
                </c:pt>
                <c:pt idx="3">
                  <c:v>30.88</c:v>
                </c:pt>
                <c:pt idx="4">
                  <c:v>30.29</c:v>
                </c:pt>
                <c:pt idx="6">
                  <c:v>40.67</c:v>
                </c:pt>
                <c:pt idx="7">
                  <c:v>33.5</c:v>
                </c:pt>
                <c:pt idx="10">
                  <c:v>0</c:v>
                </c:pt>
                <c:pt idx="12">
                  <c:v>19.39</c:v>
                </c:pt>
                <c:pt idx="13">
                  <c:v>22.72</c:v>
                </c:pt>
                <c:pt idx="16">
                  <c:v>18.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784-4907-8353-C7A636EC4735}"/>
            </c:ext>
          </c:extLst>
        </c:ser>
        <c:ser>
          <c:idx val="4"/>
          <c:order val="5"/>
          <c:tx>
            <c:strRef>
              <c:f>Sheet1!$G$1</c:f>
              <c:strCache>
                <c:ptCount val="1"/>
                <c:pt idx="0">
                  <c:v>系列1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G$2:$G$18</c:f>
              <c:numCache>
                <c:formatCode>General</c:formatCode>
                <c:ptCount val="17"/>
                <c:pt idx="0">
                  <c:v>9.5299999999999994</c:v>
                </c:pt>
                <c:pt idx="1">
                  <c:v>10.82</c:v>
                </c:pt>
                <c:pt idx="3">
                  <c:v>9.82</c:v>
                </c:pt>
                <c:pt idx="4">
                  <c:v>12.01</c:v>
                </c:pt>
                <c:pt idx="6">
                  <c:v>13.28</c:v>
                </c:pt>
                <c:pt idx="7">
                  <c:v>13.57</c:v>
                </c:pt>
                <c:pt idx="10">
                  <c:v>0</c:v>
                </c:pt>
                <c:pt idx="12">
                  <c:v>5.75</c:v>
                </c:pt>
                <c:pt idx="13">
                  <c:v>6.16</c:v>
                </c:pt>
                <c:pt idx="16">
                  <c:v>10.05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784-4907-8353-C7A636EC47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95723760"/>
        <c:axId val="1"/>
      </c:barChart>
      <c:catAx>
        <c:axId val="2957237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95723760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A0F549-6C42-461A-AEEB-F463F4FDCFC9}" type="datetimeFigureOut">
              <a:rPr lang="zh-CN" altLang="en-US" smtClean="0"/>
              <a:t>2023/11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12B510-A158-4E4F-9234-556DB28579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47215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zh-CN" altLang="en-US" sz="1100" dirty="0"/>
              <a:t>大盘范围：</a:t>
            </a:r>
            <a:endParaRPr lang="en-US" altLang="zh-CN" sz="1100" dirty="0"/>
          </a:p>
          <a:p>
            <a:pPr lvl="1" algn="l"/>
            <a:r>
              <a:rPr lang="en-US" altLang="zh-CN" sz="1100" dirty="0" err="1"/>
              <a:t>eid</a:t>
            </a:r>
            <a:r>
              <a:rPr lang="en-US" altLang="zh-CN" sz="1100" dirty="0"/>
              <a:t>=91357&amp;table=entity_prod_91357_E_meisu</a:t>
            </a:r>
          </a:p>
          <a:p>
            <a:pPr lvl="1" algn="l"/>
            <a:r>
              <a:rPr lang="zh-CN" altLang="en-US" sz="1100" dirty="0"/>
              <a:t>平台：</a:t>
            </a:r>
            <a:r>
              <a:rPr lang="en-US" altLang="zh-CN" sz="1100" dirty="0" err="1"/>
              <a:t>JD+tmall</a:t>
            </a:r>
            <a:endParaRPr lang="en-US" altLang="zh-CN" sz="1100" dirty="0"/>
          </a:p>
          <a:p>
            <a:pPr lvl="1" algn="l"/>
            <a:r>
              <a:rPr lang="en-US" altLang="zh-CN" sz="1100" dirty="0" err="1"/>
              <a:t>Tmall</a:t>
            </a:r>
            <a:r>
              <a:rPr lang="zh-CN" altLang="en-US" sz="1100" dirty="0"/>
              <a:t>细分猫超和非猫超部分，猫超</a:t>
            </a:r>
            <a:r>
              <a:rPr lang="en-US" altLang="zh-CN" sz="1100" dirty="0"/>
              <a:t>=</a:t>
            </a:r>
            <a:r>
              <a:rPr lang="zh-CN" altLang="en-US" sz="1100" dirty="0"/>
              <a:t>天猫超市</a:t>
            </a:r>
            <a:r>
              <a:rPr lang="en-US" altLang="zh-CN" sz="1100" dirty="0"/>
              <a:t>+</a:t>
            </a:r>
            <a:r>
              <a:rPr lang="zh-CN" altLang="en-US" sz="1100" dirty="0"/>
              <a:t>猫享自营</a:t>
            </a:r>
            <a:endParaRPr lang="en-US" altLang="zh-CN" sz="1100" dirty="0"/>
          </a:p>
          <a:p>
            <a:pPr lvl="1" algn="l"/>
            <a:r>
              <a:rPr lang="zh-CN" altLang="en-US" sz="1100" dirty="0"/>
              <a:t>渠道：国内</a:t>
            </a:r>
            <a:endParaRPr lang="en-US" altLang="zh-CN" sz="1100" dirty="0"/>
          </a:p>
          <a:p>
            <a:pPr lvl="1" algn="l"/>
            <a:r>
              <a:rPr lang="en-US" altLang="zh-CN" sz="1100" dirty="0" err="1"/>
              <a:t>cid</a:t>
            </a:r>
            <a:r>
              <a:rPr lang="en-US" altLang="zh-CN" sz="1100" dirty="0"/>
              <a:t>=</a:t>
            </a:r>
            <a:r>
              <a:rPr lang="en-US" altLang="zh-CN" dirty="0"/>
              <a:t>211104,201284105,7052,31762</a:t>
            </a:r>
          </a:p>
          <a:p>
            <a:pPr lvl="1" algn="l"/>
            <a:r>
              <a:rPr lang="zh-CN" altLang="en-US" sz="1100" dirty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是否无效链接</a:t>
            </a:r>
            <a:r>
              <a:rPr lang="en-US" altLang="zh-CN" sz="1100" dirty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=</a:t>
            </a:r>
            <a:r>
              <a:rPr lang="zh-CN" altLang="en-US" sz="1100" dirty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有效链接或者为空</a:t>
            </a:r>
            <a:endParaRPr lang="en-US" altLang="zh-CN" sz="11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  <a:p>
            <a:pPr lvl="1" algn="l"/>
            <a:r>
              <a:rPr lang="zh-CN" altLang="en-US" sz="11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不</a:t>
            </a:r>
            <a:r>
              <a:rPr lang="zh-CN" altLang="zh-CN" sz="11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限制子品类</a:t>
            </a:r>
            <a:endParaRPr lang="en-US" altLang="zh-CN" sz="1100" dirty="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  <a:p>
            <a:pPr lvl="1" algn="l"/>
            <a:endParaRPr lang="en-US" altLang="zh-CN" sz="1100" dirty="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/>
              <a:t>美素佳儿（金装</a:t>
            </a:r>
            <a:r>
              <a:rPr lang="en-US" altLang="zh-CN" sz="1200" dirty="0"/>
              <a:t>+</a:t>
            </a:r>
            <a:r>
              <a:rPr lang="zh-CN" altLang="en-US" sz="1200" dirty="0"/>
              <a:t>源悦</a:t>
            </a:r>
            <a:r>
              <a:rPr lang="en-US" altLang="zh-CN" sz="1200" dirty="0"/>
              <a:t>+</a:t>
            </a:r>
            <a:r>
              <a:rPr lang="zh-CN" altLang="en-US" sz="1200" dirty="0"/>
              <a:t>皇家）：厂商</a:t>
            </a:r>
            <a:r>
              <a:rPr lang="en-US" altLang="zh-CN" sz="1200" dirty="0"/>
              <a:t>=</a:t>
            </a:r>
            <a:r>
              <a:rPr lang="en-US" altLang="zh-CN" sz="1200" dirty="0" err="1"/>
              <a:t>Frieslandcampina</a:t>
            </a:r>
            <a:r>
              <a:rPr lang="en-US" altLang="zh-CN" sz="1200" dirty="0"/>
              <a:t>/</a:t>
            </a:r>
            <a:r>
              <a:rPr lang="zh-CN" altLang="en-US" sz="1200" dirty="0"/>
              <a:t>荷兰皇家菲仕兰</a:t>
            </a:r>
            <a:endParaRPr lang="en-US" altLang="zh-CN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/>
              <a:t>皇家美素佳儿：产品品牌</a:t>
            </a:r>
            <a:r>
              <a:rPr lang="en-US" altLang="zh-CN" sz="1200" dirty="0"/>
              <a:t>=FRISO PRESTIGE/</a:t>
            </a:r>
            <a:r>
              <a:rPr lang="zh-CN" altLang="en-US" sz="1200" dirty="0"/>
              <a:t>皇家美素佳儿</a:t>
            </a:r>
            <a:endParaRPr lang="en-US" altLang="zh-CN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/>
              <a:t>金装：产品品牌</a:t>
            </a:r>
            <a:r>
              <a:rPr lang="en-US" altLang="zh-CN" sz="1200" dirty="0"/>
              <a:t>=</a:t>
            </a:r>
            <a:r>
              <a:rPr lang="en-US" altLang="zh-CN" sz="1200" dirty="0" err="1"/>
              <a:t>Friso</a:t>
            </a:r>
            <a:r>
              <a:rPr lang="en-US" altLang="zh-CN" sz="1200" dirty="0"/>
              <a:t>/</a:t>
            </a:r>
            <a:r>
              <a:rPr lang="zh-CN" altLang="en-US" sz="1200" dirty="0"/>
              <a:t>美素佳儿 </a:t>
            </a:r>
            <a:r>
              <a:rPr lang="en-US" altLang="zh-CN" sz="1200" dirty="0"/>
              <a:t>- </a:t>
            </a:r>
            <a:r>
              <a:rPr lang="zh-CN" altLang="en-US" sz="1200" dirty="0"/>
              <a:t>子品牌</a:t>
            </a:r>
            <a:r>
              <a:rPr lang="en-US" altLang="zh-CN" sz="1200" dirty="0"/>
              <a:t>=</a:t>
            </a:r>
            <a:r>
              <a:rPr lang="zh-CN" altLang="en-US" sz="1200" dirty="0"/>
              <a:t>源悦 做减法</a:t>
            </a:r>
            <a:endParaRPr lang="en-US" altLang="zh-CN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/>
              <a:t>源悦：子品牌</a:t>
            </a:r>
            <a:r>
              <a:rPr lang="en-US" altLang="zh-CN" sz="1200" dirty="0"/>
              <a:t>=</a:t>
            </a:r>
            <a:r>
              <a:rPr lang="zh-CN" altLang="en-US" sz="1200" dirty="0"/>
              <a:t>源悦</a:t>
            </a:r>
            <a:endParaRPr lang="en-US" altLang="zh-CN" sz="1200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2B510-A158-4E4F-9234-556DB285791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72116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同上一页</a:t>
            </a:r>
            <a:endParaRPr lang="en-US" altLang="zh-CN"/>
          </a:p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2B510-A158-4E4F-9234-556DB285791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11988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12B510-A158-4E4F-9234-556DB2857911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756385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12B510-A158-4E4F-9234-556DB2857911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730686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6B2B6293-845C-4E26-BF81-E2CE060BFF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02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2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Nint PPT 20220314-21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8228" y="1346557"/>
            <a:ext cx="7422776" cy="737298"/>
          </a:xfrm>
        </p:spPr>
        <p:txBody>
          <a:bodyPr vert="horz" anchor="t">
            <a:normAutofit/>
          </a:bodyPr>
          <a:lstStyle>
            <a:lvl1pPr algn="l">
              <a:defRPr sz="4000" b="1">
                <a:solidFill>
                  <a:srgbClr val="00FFFF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图片 7" descr="Nint PPT 20220314-22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932" y="4426178"/>
            <a:ext cx="1374648" cy="292608"/>
          </a:xfrm>
          <a:prstGeom prst="rect">
            <a:avLst/>
          </a:prstGeom>
        </p:spPr>
      </p:pic>
      <p:sp>
        <p:nvSpPr>
          <p:cNvPr id="10" name="Subtitle 2"/>
          <p:cNvSpPr txBox="1">
            <a:spLocks/>
          </p:cNvSpPr>
          <p:nvPr userDrawn="1"/>
        </p:nvSpPr>
        <p:spPr>
          <a:xfrm>
            <a:off x="518228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  <p:sp>
        <p:nvSpPr>
          <p:cNvPr id="22" name="文本占位符 21">
            <a:extLst>
              <a:ext uri="{FF2B5EF4-FFF2-40B4-BE49-F238E27FC236}">
                <a16:creationId xmlns:a16="http://schemas.microsoft.com/office/drawing/2014/main" id="{65E7D378-8818-4050-B8E7-18D2CC31B3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8228" y="2117380"/>
            <a:ext cx="7422776" cy="457200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6" name="文本占位符 21">
            <a:extLst>
              <a:ext uri="{FF2B5EF4-FFF2-40B4-BE49-F238E27FC236}">
                <a16:creationId xmlns:a16="http://schemas.microsoft.com/office/drawing/2014/main" id="{2F8C1BDC-F162-424A-B7F9-12F8B91E4A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8228" y="3428453"/>
            <a:ext cx="7422776" cy="360000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7" name="文本占位符 21">
            <a:extLst>
              <a:ext uri="{FF2B5EF4-FFF2-40B4-BE49-F238E27FC236}">
                <a16:creationId xmlns:a16="http://schemas.microsoft.com/office/drawing/2014/main" id="{E123416E-341B-4685-8B8C-AE9DFE7974C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8228" y="3809555"/>
            <a:ext cx="7422776" cy="360000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75650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4" orient="horz" pos="2958" userDrawn="1">
          <p15:clr>
            <a:srgbClr val="A4A3A4"/>
          </p15:clr>
        </p15:guide>
        <p15:guide id="5" orient="horz" pos="713" userDrawn="1">
          <p15:clr>
            <a:srgbClr val="A4A3A4"/>
          </p15:clr>
        </p15:guide>
        <p15:guide id="6" pos="317" userDrawn="1">
          <p15:clr>
            <a:srgbClr val="A4A3A4"/>
          </p15:clr>
        </p15:guide>
        <p15:guide id="7" pos="5443" userDrawn="1">
          <p15:clr>
            <a:srgbClr val="A4A3A4"/>
          </p15:clr>
        </p15:guide>
        <p15:guide id="8" orient="horz" pos="2391" userDrawn="1">
          <p15:clr>
            <a:srgbClr val="A4A3A4"/>
          </p15:clr>
        </p15:guide>
        <p15:guide id="9" orient="horz" pos="373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Nint PPT 20220315-28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chemeClr val="tx1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>
                <a:solidFill>
                  <a:schemeClr val="tx1"/>
                </a:solidFill>
              </a:rPr>
              <a:t>www.nint.com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9882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Nint PPT 20220315-29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>
            <a:normAutofit/>
          </a:bodyPr>
          <a:lstStyle>
            <a:lvl1pPr>
              <a:defRPr sz="4000">
                <a:solidFill>
                  <a:srgbClr val="0000E8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Arial"/>
                <a:ea typeface="思源黑体 CN Regular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rgbClr val="0000E8"/>
                </a:solidFill>
              </a:rPr>
              <a:t>www.nint.com</a:t>
            </a:r>
            <a:endParaRPr lang="en-US" sz="900" dirty="0">
              <a:solidFill>
                <a:srgbClr val="0000E8"/>
              </a:solidFill>
            </a:endParaRP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3514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3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589058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00E8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1pPr>
            <a:lvl2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2pPr>
            <a:lvl3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3pPr>
            <a:lvl4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4pPr>
            <a:lvl5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chemeClr val="bg1"/>
                </a:solidFill>
              </a:rPr>
              <a:t>www.nint.com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3005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3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11944"/>
            <a:ext cx="7772400" cy="1204071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5406848" y="4175843"/>
            <a:ext cx="2745926" cy="54295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300" dirty="0" err="1"/>
              <a:t>www.nint.com</a:t>
            </a:r>
            <a:endParaRPr lang="en-US" sz="2300" dirty="0"/>
          </a:p>
        </p:txBody>
      </p:sp>
    </p:spTree>
    <p:extLst>
      <p:ext uri="{BB962C8B-B14F-4D97-AF65-F5344CB8AC3E}">
        <p14:creationId xmlns:p14="http://schemas.microsoft.com/office/powerpoint/2010/main" val="38306319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6B2B6293-845C-4E26-BF81-E2CE060BFF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52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6B2B6293-845C-4E26-BF81-E2CE060BFF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Nint PPT 20220314-21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8228" y="1346557"/>
            <a:ext cx="7422776" cy="737298"/>
          </a:xfrm>
        </p:spPr>
        <p:txBody>
          <a:bodyPr vert="horz" anchor="t">
            <a:normAutofit/>
          </a:bodyPr>
          <a:lstStyle>
            <a:lvl1pPr algn="l">
              <a:defRPr sz="4000" b="1">
                <a:solidFill>
                  <a:srgbClr val="00FFFF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图片 7" descr="Nint PPT 20220314-22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932" y="4426178"/>
            <a:ext cx="1374648" cy="292608"/>
          </a:xfrm>
          <a:prstGeom prst="rect">
            <a:avLst/>
          </a:prstGeom>
        </p:spPr>
      </p:pic>
      <p:sp>
        <p:nvSpPr>
          <p:cNvPr id="10" name="Subtitle 2"/>
          <p:cNvSpPr txBox="1">
            <a:spLocks/>
          </p:cNvSpPr>
          <p:nvPr userDrawn="1"/>
        </p:nvSpPr>
        <p:spPr>
          <a:xfrm>
            <a:off x="518228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  <p:sp>
        <p:nvSpPr>
          <p:cNvPr id="22" name="文本占位符 21">
            <a:extLst>
              <a:ext uri="{FF2B5EF4-FFF2-40B4-BE49-F238E27FC236}">
                <a16:creationId xmlns:a16="http://schemas.microsoft.com/office/drawing/2014/main" id="{65E7D378-8818-4050-B8E7-18D2CC31B3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8228" y="2117380"/>
            <a:ext cx="7422776" cy="457200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6" name="文本占位符 21">
            <a:extLst>
              <a:ext uri="{FF2B5EF4-FFF2-40B4-BE49-F238E27FC236}">
                <a16:creationId xmlns:a16="http://schemas.microsoft.com/office/drawing/2014/main" id="{2F8C1BDC-F162-424A-B7F9-12F8B91E4A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8228" y="3428453"/>
            <a:ext cx="7422776" cy="360000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7" name="文本占位符 21">
            <a:extLst>
              <a:ext uri="{FF2B5EF4-FFF2-40B4-BE49-F238E27FC236}">
                <a16:creationId xmlns:a16="http://schemas.microsoft.com/office/drawing/2014/main" id="{E123416E-341B-4685-8B8C-AE9DFE7974C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8228" y="3809555"/>
            <a:ext cx="7422776" cy="360000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66322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4" orient="horz" pos="2958">
          <p15:clr>
            <a:srgbClr val="A4A3A4"/>
          </p15:clr>
        </p15:guide>
        <p15:guide id="5" orient="horz" pos="713">
          <p15:clr>
            <a:srgbClr val="A4A3A4"/>
          </p15:clr>
        </p15:guide>
        <p15:guide id="6" pos="317">
          <p15:clr>
            <a:srgbClr val="A4A3A4"/>
          </p15:clr>
        </p15:guide>
        <p15:guide id="7" pos="5443">
          <p15:clr>
            <a:srgbClr val="A4A3A4"/>
          </p15:clr>
        </p15:guide>
        <p15:guide id="8" orient="horz" pos="2391">
          <p15:clr>
            <a:srgbClr val="A4A3A4"/>
          </p15:clr>
        </p15:guide>
        <p15:guide id="9" orient="horz" pos="373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 &amp;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8DD85855-F748-4A1A-B58E-6917109418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28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8DD85855-F748-4A1A-B58E-691710941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Nint PPT 20220315-32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rgbClr val="0000E8"/>
                </a:solidFill>
              </a:rPr>
              <a:t>www.nint.com</a:t>
            </a:r>
            <a:endParaRPr lang="en-US" sz="900" dirty="0">
              <a:solidFill>
                <a:srgbClr val="0000E8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80"/>
            <a:ext cx="8229600" cy="542956"/>
          </a:xfrm>
        </p:spPr>
        <p:txBody>
          <a:bodyPr vert="horz" anchor="t">
            <a:normAutofit/>
          </a:bodyPr>
          <a:lstStyle>
            <a:lvl1pPr algn="l">
              <a:defRPr sz="2000" b="1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文本占位符 14">
            <a:extLst>
              <a:ext uri="{FF2B5EF4-FFF2-40B4-BE49-F238E27FC236}">
                <a16:creationId xmlns:a16="http://schemas.microsoft.com/office/drawing/2014/main" id="{EC422117-9BB8-4492-BBD4-2C179BB2A6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8228" y="1146878"/>
            <a:ext cx="3941345" cy="3215260"/>
          </a:xfrm>
        </p:spPr>
        <p:txBody>
          <a:bodyPr>
            <a:normAutofit/>
          </a:bodyPr>
          <a:lstStyle>
            <a:lvl1pPr marL="136800" indent="-126000">
              <a:spcBef>
                <a:spcPts val="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14">
            <a:extLst>
              <a:ext uri="{FF2B5EF4-FFF2-40B4-BE49-F238E27FC236}">
                <a16:creationId xmlns:a16="http://schemas.microsoft.com/office/drawing/2014/main" id="{6AC12D3B-1876-450D-B4C3-C0B26D7D3C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88058" y="1146878"/>
            <a:ext cx="3941345" cy="3215260"/>
          </a:xfrm>
        </p:spPr>
        <p:txBody>
          <a:bodyPr>
            <a:normAutofit/>
          </a:bodyPr>
          <a:lstStyle>
            <a:lvl1pPr marL="136800" indent="-126000"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7" name="文本占位符 14">
            <a:extLst>
              <a:ext uri="{FF2B5EF4-FFF2-40B4-BE49-F238E27FC236}">
                <a16:creationId xmlns:a16="http://schemas.microsoft.com/office/drawing/2014/main" id="{14709AA4-1FE8-478B-9AD2-4A74AC498EE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93430" y="2833140"/>
            <a:ext cx="1976203" cy="969091"/>
          </a:xfrm>
        </p:spPr>
        <p:txBody>
          <a:bodyPr>
            <a:normAutofit/>
          </a:bodyPr>
          <a:lstStyle>
            <a:lvl1pPr marL="10800" indent="0">
              <a:spcBef>
                <a:spcPts val="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endParaRPr lang="zh-CN" altLang="en-US" dirty="0"/>
          </a:p>
        </p:txBody>
      </p:sp>
      <p:sp>
        <p:nvSpPr>
          <p:cNvPr id="18" name="文本占位符 14">
            <a:extLst>
              <a:ext uri="{FF2B5EF4-FFF2-40B4-BE49-F238E27FC236}">
                <a16:creationId xmlns:a16="http://schemas.microsoft.com/office/drawing/2014/main" id="{0B3C5FD3-ECF5-4062-95AF-88D14E0930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33280" y="2983040"/>
            <a:ext cx="1976203" cy="969091"/>
          </a:xfrm>
        </p:spPr>
        <p:txBody>
          <a:bodyPr>
            <a:normAutofit/>
          </a:bodyPr>
          <a:lstStyle>
            <a:lvl1pPr marL="10800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81792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73">
          <p15:clr>
            <a:srgbClr val="A4A3A4"/>
          </p15:clr>
        </p15:guide>
        <p15:guide id="4" orient="horz" pos="2958">
          <p15:clr>
            <a:srgbClr val="A4A3A4"/>
          </p15:clr>
        </p15:guide>
        <p15:guide id="5" orient="horz" pos="713">
          <p15:clr>
            <a:srgbClr val="A4A3A4"/>
          </p15:clr>
        </p15:guide>
        <p15:guide id="6" orient="horz" pos="2391">
          <p15:clr>
            <a:srgbClr val="A4A3A4"/>
          </p15:clr>
        </p15:guide>
        <p15:guide id="7" pos="5443">
          <p15:clr>
            <a:srgbClr val="A4A3A4"/>
          </p15:clr>
        </p15:guide>
        <p15:guide id="8" pos="317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8DD85855-F748-4A1A-B58E-6917109418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04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8DD85855-F748-4A1A-B58E-691710941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Nint PPT 20220315-32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rgbClr val="0000E8"/>
                </a:solidFill>
              </a:rPr>
              <a:t>www.nint.com</a:t>
            </a:r>
            <a:endParaRPr lang="en-US" sz="900" dirty="0">
              <a:solidFill>
                <a:srgbClr val="0000E8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80"/>
            <a:ext cx="7444854" cy="386158"/>
          </a:xfrm>
        </p:spPr>
        <p:txBody>
          <a:bodyPr vert="horz" anchor="t">
            <a:normAutofit/>
          </a:bodyPr>
          <a:lstStyle>
            <a:lvl1pPr algn="l">
              <a:defRPr sz="2000" b="1">
                <a:solidFill>
                  <a:schemeClr val="tx1"/>
                </a:solidFill>
                <a:latin typeface="Poppins" panose="02000000000000000000" pitchFamily="2" charset="0"/>
                <a:ea typeface="+mj-ea"/>
                <a:cs typeface="Poppins" panose="02000000000000000000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17C1ED9C-F0E0-4D11-B712-A1D47E305483}"/>
              </a:ext>
            </a:extLst>
          </p:cNvPr>
          <p:cNvSpPr/>
          <p:nvPr userDrawn="1"/>
        </p:nvSpPr>
        <p:spPr>
          <a:xfrm>
            <a:off x="508000" y="633175"/>
            <a:ext cx="101600" cy="254721"/>
          </a:xfrm>
          <a:prstGeom prst="rect">
            <a:avLst/>
          </a:prstGeom>
          <a:solidFill>
            <a:srgbClr val="370097"/>
          </a:solidFill>
          <a:ln>
            <a:solidFill>
              <a:srgbClr val="37009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/>
          </a:p>
        </p:txBody>
      </p:sp>
      <p:sp>
        <p:nvSpPr>
          <p:cNvPr id="13" name="文本占位符 14">
            <a:extLst>
              <a:ext uri="{FF2B5EF4-FFF2-40B4-BE49-F238E27FC236}">
                <a16:creationId xmlns:a16="http://schemas.microsoft.com/office/drawing/2014/main" id="{76857F11-31B4-4D0C-80DA-2533E0CDE0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9588" y="635896"/>
            <a:ext cx="7982262" cy="252000"/>
          </a:xfrm>
        </p:spPr>
        <p:txBody>
          <a:bodyPr anchor="ctr">
            <a:noAutofit/>
          </a:bodyPr>
          <a:lstStyle>
            <a:lvl1pPr marL="1080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541937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73">
          <p15:clr>
            <a:srgbClr val="A4A3A4"/>
          </p15:clr>
        </p15:guide>
        <p15:guide id="4" orient="horz" pos="2958">
          <p15:clr>
            <a:srgbClr val="A4A3A4"/>
          </p15:clr>
        </p15:guide>
        <p15:guide id="5" orient="horz" pos="713">
          <p15:clr>
            <a:srgbClr val="A4A3A4"/>
          </p15:clr>
        </p15:guide>
        <p15:guide id="6" orient="horz" pos="2391">
          <p15:clr>
            <a:srgbClr val="A4A3A4"/>
          </p15:clr>
        </p15:guide>
        <p15:guide id="7" pos="5443">
          <p15:clr>
            <a:srgbClr val="A4A3A4"/>
          </p15:clr>
        </p15:guide>
        <p15:guide id="8" pos="317">
          <p15:clr>
            <a:srgbClr val="A4A3A4"/>
          </p15:clr>
        </p15:guide>
        <p15:guide id="9" orient="horz" pos="1166">
          <p15:clr>
            <a:srgbClr val="A4A3A4"/>
          </p15:clr>
        </p15:guide>
        <p15:guide id="11" orient="horz" pos="2822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 Sli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E11D67BA-0635-436E-8DF9-96E1531521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80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E11D67BA-0635-436E-8DF9-96E1531521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图片 3" descr="Nint PPT 20220315-30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chemeClr val="bg1"/>
                </a:solidFill>
              </a:rPr>
              <a:t>www.nint.com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3C67214-71C5-45C9-8EDD-C90FBE5AE1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9109" y="1346557"/>
            <a:ext cx="7422776" cy="737298"/>
          </a:xfrm>
        </p:spPr>
        <p:txBody>
          <a:bodyPr vert="horz" anchor="t">
            <a:normAutofit/>
          </a:bodyPr>
          <a:lstStyle>
            <a:lvl1pPr algn="ctr">
              <a:defRPr sz="4000" b="1">
                <a:solidFill>
                  <a:srgbClr val="00FFFF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文本占位符 21">
            <a:extLst>
              <a:ext uri="{FF2B5EF4-FFF2-40B4-BE49-F238E27FC236}">
                <a16:creationId xmlns:a16="http://schemas.microsoft.com/office/drawing/2014/main" id="{2A10B2B2-91C1-418C-9EC9-D93D16725AA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9109" y="2117380"/>
            <a:ext cx="7422776" cy="457200"/>
          </a:xfrm>
        </p:spPr>
        <p:txBody>
          <a:bodyPr>
            <a:normAutofit/>
          </a:bodyPr>
          <a:lstStyle>
            <a:lvl1pPr marL="0" indent="0" algn="ctr">
              <a:buNone/>
              <a:defRPr sz="20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5" name="文本占位符 21">
            <a:extLst>
              <a:ext uri="{FF2B5EF4-FFF2-40B4-BE49-F238E27FC236}">
                <a16:creationId xmlns:a16="http://schemas.microsoft.com/office/drawing/2014/main" id="{54497D10-52EA-4E44-B2E5-3DFE81FD07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9112" y="3428453"/>
            <a:ext cx="7422776" cy="36000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21">
            <a:extLst>
              <a:ext uri="{FF2B5EF4-FFF2-40B4-BE49-F238E27FC236}">
                <a16:creationId xmlns:a16="http://schemas.microsoft.com/office/drawing/2014/main" id="{281EEC37-5E6B-4FBF-ABD6-618ED03995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69112" y="3809555"/>
            <a:ext cx="7422776" cy="360000"/>
          </a:xfrm>
        </p:spPr>
        <p:txBody>
          <a:bodyPr>
            <a:normAutofit/>
          </a:bodyPr>
          <a:lstStyle>
            <a:lvl1pPr marL="0" indent="0" algn="ctr">
              <a:buNone/>
              <a:defRPr sz="14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1466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A4A3A4"/>
          </p15:clr>
        </p15:guide>
        <p15:guide id="2" orient="horz" pos="1620">
          <p15:clr>
            <a:srgbClr val="A4A3A4"/>
          </p15:clr>
        </p15:guide>
        <p15:guide id="3" orient="horz" pos="373">
          <p15:clr>
            <a:srgbClr val="A4A3A4"/>
          </p15:clr>
        </p15:guide>
        <p15:guide id="4" orient="horz" pos="713">
          <p15:clr>
            <a:srgbClr val="A4A3A4"/>
          </p15:clr>
        </p15:guide>
        <p15:guide id="5" orient="horz" pos="1166">
          <p15:clr>
            <a:srgbClr val="A4A3A4"/>
          </p15:clr>
        </p15:guide>
        <p15:guide id="6" orient="horz" pos="2822">
          <p15:clr>
            <a:srgbClr val="A4A3A4"/>
          </p15:clr>
        </p15:guide>
        <p15:guide id="7" orient="horz" pos="2958">
          <p15:clr>
            <a:srgbClr val="A4A3A4"/>
          </p15:clr>
        </p15:guide>
        <p15:guide id="8" pos="317">
          <p15:clr>
            <a:srgbClr val="A4A3A4"/>
          </p15:clr>
        </p15:guide>
        <p15:guide id="9" pos="5443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Nint PPT 20220315-2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9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481467"/>
            <a:ext cx="7086600" cy="2038020"/>
          </a:xfrm>
        </p:spPr>
        <p:txBody>
          <a:bodyPr anchor="t">
            <a:normAutofit/>
          </a:bodyPr>
          <a:lstStyle>
            <a:lvl1pPr algn="l">
              <a:defRPr sz="4000" b="1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19488"/>
            <a:ext cx="7086600" cy="5429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rgbClr val="00FFFF"/>
                </a:solidFill>
                <a:latin typeface="思源黑体 CN Light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图片 7" descr="Nint PPT 20220314-2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932" y="4426178"/>
            <a:ext cx="1374648" cy="292608"/>
          </a:xfrm>
          <a:prstGeom prst="rect">
            <a:avLst/>
          </a:prstGeom>
        </p:spPr>
      </p:pic>
      <p:sp>
        <p:nvSpPr>
          <p:cNvPr id="10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5769087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Nint PPT 20220315-2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3752128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 &amp;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8DD85855-F748-4A1A-B58E-6917109418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2503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5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Nint PPT 20220315-32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rgbClr val="0000E8"/>
                </a:solidFill>
              </a:rPr>
              <a:t>www.nint.com</a:t>
            </a:r>
            <a:endParaRPr lang="en-US" sz="900" dirty="0">
              <a:solidFill>
                <a:srgbClr val="0000E8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80"/>
            <a:ext cx="8229600" cy="542956"/>
          </a:xfrm>
        </p:spPr>
        <p:txBody>
          <a:bodyPr vert="horz" anchor="t">
            <a:normAutofit/>
          </a:bodyPr>
          <a:lstStyle>
            <a:lvl1pPr algn="l">
              <a:defRPr sz="2000" b="1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文本占位符 14">
            <a:extLst>
              <a:ext uri="{FF2B5EF4-FFF2-40B4-BE49-F238E27FC236}">
                <a16:creationId xmlns:a16="http://schemas.microsoft.com/office/drawing/2014/main" id="{EC422117-9BB8-4492-BBD4-2C179BB2A6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8228" y="1146878"/>
            <a:ext cx="3941345" cy="3215260"/>
          </a:xfrm>
        </p:spPr>
        <p:txBody>
          <a:bodyPr>
            <a:normAutofit/>
          </a:bodyPr>
          <a:lstStyle>
            <a:lvl1pPr marL="136800" indent="-126000">
              <a:spcBef>
                <a:spcPts val="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14">
            <a:extLst>
              <a:ext uri="{FF2B5EF4-FFF2-40B4-BE49-F238E27FC236}">
                <a16:creationId xmlns:a16="http://schemas.microsoft.com/office/drawing/2014/main" id="{6AC12D3B-1876-450D-B4C3-C0B26D7D3C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88058" y="1146878"/>
            <a:ext cx="3941345" cy="3215260"/>
          </a:xfrm>
        </p:spPr>
        <p:txBody>
          <a:bodyPr>
            <a:normAutofit/>
          </a:bodyPr>
          <a:lstStyle>
            <a:lvl1pPr marL="136800" indent="-126000"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7" name="文本占位符 14">
            <a:extLst>
              <a:ext uri="{FF2B5EF4-FFF2-40B4-BE49-F238E27FC236}">
                <a16:creationId xmlns:a16="http://schemas.microsoft.com/office/drawing/2014/main" id="{14709AA4-1FE8-478B-9AD2-4A74AC498EE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93430" y="2833140"/>
            <a:ext cx="1976203" cy="969091"/>
          </a:xfrm>
        </p:spPr>
        <p:txBody>
          <a:bodyPr>
            <a:normAutofit/>
          </a:bodyPr>
          <a:lstStyle>
            <a:lvl1pPr marL="10800" indent="0">
              <a:spcBef>
                <a:spcPts val="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endParaRPr lang="zh-CN" altLang="en-US" dirty="0"/>
          </a:p>
        </p:txBody>
      </p:sp>
      <p:sp>
        <p:nvSpPr>
          <p:cNvPr id="18" name="文本占位符 14">
            <a:extLst>
              <a:ext uri="{FF2B5EF4-FFF2-40B4-BE49-F238E27FC236}">
                <a16:creationId xmlns:a16="http://schemas.microsoft.com/office/drawing/2014/main" id="{0B3C5FD3-ECF5-4062-95AF-88D14E0930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33280" y="2983040"/>
            <a:ext cx="1976203" cy="969091"/>
          </a:xfrm>
        </p:spPr>
        <p:txBody>
          <a:bodyPr>
            <a:normAutofit/>
          </a:bodyPr>
          <a:lstStyle>
            <a:lvl1pPr marL="10800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51290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3" userDrawn="1">
          <p15:clr>
            <a:srgbClr val="A4A3A4"/>
          </p15:clr>
        </p15:guide>
        <p15:guide id="4" orient="horz" pos="2958" userDrawn="1">
          <p15:clr>
            <a:srgbClr val="A4A3A4"/>
          </p15:clr>
        </p15:guide>
        <p15:guide id="5" orient="horz" pos="713" userDrawn="1">
          <p15:clr>
            <a:srgbClr val="A4A3A4"/>
          </p15:clr>
        </p15:guide>
        <p15:guide id="6" orient="horz" pos="2391" userDrawn="1">
          <p15:clr>
            <a:srgbClr val="A4A3A4"/>
          </p15:clr>
        </p15:guide>
        <p15:guide id="7" pos="5443" userDrawn="1">
          <p15:clr>
            <a:srgbClr val="A4A3A4"/>
          </p15:clr>
        </p15:guide>
        <p15:guide id="8" pos="317" userDrawn="1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2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865992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Nint PPT 20220315-27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7166503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2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chemeClr val="tx1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>
                <a:solidFill>
                  <a:schemeClr val="tx1"/>
                </a:solidFill>
              </a:rPr>
              <a:t>www.nint.com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06870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Nint PPT 20220315-28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chemeClr val="tx1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>
                <a:solidFill>
                  <a:schemeClr val="tx1"/>
                </a:solidFill>
              </a:rPr>
              <a:t>www.nint.com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49419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Nint PPT 20220315-29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>
            <a:normAutofit/>
          </a:bodyPr>
          <a:lstStyle>
            <a:lvl1pPr>
              <a:defRPr sz="4000">
                <a:solidFill>
                  <a:srgbClr val="0000E8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Arial"/>
                <a:ea typeface="思源黑体 CN Regular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rgbClr val="0000E8"/>
                </a:solidFill>
              </a:rPr>
              <a:t>www.nint.com</a:t>
            </a:r>
            <a:endParaRPr lang="en-US" sz="900" dirty="0">
              <a:solidFill>
                <a:srgbClr val="0000E8"/>
              </a:solidFill>
            </a:endParaRP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9758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3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589058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00E8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1pPr>
            <a:lvl2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2pPr>
            <a:lvl3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3pPr>
            <a:lvl4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4pPr>
            <a:lvl5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chemeClr val="bg1"/>
                </a:solidFill>
              </a:rPr>
              <a:t>www.nint.com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4048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3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11944"/>
            <a:ext cx="7772400" cy="1204071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5406848" y="4175843"/>
            <a:ext cx="2745926" cy="54295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300" dirty="0" err="1"/>
              <a:t>www.nint.com</a:t>
            </a:r>
            <a:endParaRPr lang="en-US" sz="2300" dirty="0"/>
          </a:p>
        </p:txBody>
      </p:sp>
    </p:spTree>
    <p:extLst>
      <p:ext uri="{BB962C8B-B14F-4D97-AF65-F5344CB8AC3E}">
        <p14:creationId xmlns:p14="http://schemas.microsoft.com/office/powerpoint/2010/main" val="21516982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8DD85855-F748-4A1A-B58E-6917109418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4977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79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8DD85855-F748-4A1A-B58E-691710941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Nint PPT 20220315-32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rgbClr val="0000E8"/>
                </a:solidFill>
              </a:rPr>
              <a:t>www.nint.com</a:t>
            </a:r>
            <a:endParaRPr lang="en-US" sz="900" dirty="0">
              <a:solidFill>
                <a:srgbClr val="0000E8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80"/>
            <a:ext cx="7444854" cy="386158"/>
          </a:xfrm>
        </p:spPr>
        <p:txBody>
          <a:bodyPr vert="horz" anchor="t">
            <a:normAutofit/>
          </a:bodyPr>
          <a:lstStyle>
            <a:lvl1pPr algn="l">
              <a:defRPr sz="2000" b="1">
                <a:solidFill>
                  <a:schemeClr val="tx1"/>
                </a:solidFill>
                <a:latin typeface="Poppins" panose="02000000000000000000" pitchFamily="2" charset="0"/>
                <a:ea typeface="+mj-ea"/>
                <a:cs typeface="Poppins" panose="02000000000000000000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17C1ED9C-F0E0-4D11-B712-A1D47E305483}"/>
              </a:ext>
            </a:extLst>
          </p:cNvPr>
          <p:cNvSpPr/>
          <p:nvPr userDrawn="1"/>
        </p:nvSpPr>
        <p:spPr>
          <a:xfrm>
            <a:off x="508000" y="633175"/>
            <a:ext cx="101600" cy="254721"/>
          </a:xfrm>
          <a:prstGeom prst="rect">
            <a:avLst/>
          </a:prstGeom>
          <a:solidFill>
            <a:srgbClr val="370097"/>
          </a:solidFill>
          <a:ln>
            <a:solidFill>
              <a:srgbClr val="37009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/>
          </a:p>
        </p:txBody>
      </p:sp>
      <p:sp>
        <p:nvSpPr>
          <p:cNvPr id="13" name="文本占位符 14">
            <a:extLst>
              <a:ext uri="{FF2B5EF4-FFF2-40B4-BE49-F238E27FC236}">
                <a16:creationId xmlns:a16="http://schemas.microsoft.com/office/drawing/2014/main" id="{76857F11-31B4-4D0C-80DA-2533E0CDE0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9588" y="635896"/>
            <a:ext cx="7982262" cy="252000"/>
          </a:xfrm>
        </p:spPr>
        <p:txBody>
          <a:bodyPr anchor="ctr">
            <a:noAutofit/>
          </a:bodyPr>
          <a:lstStyle>
            <a:lvl1pPr marL="1080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286566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73">
          <p15:clr>
            <a:srgbClr val="A4A3A4"/>
          </p15:clr>
        </p15:guide>
        <p15:guide id="4" orient="horz" pos="2958">
          <p15:clr>
            <a:srgbClr val="A4A3A4"/>
          </p15:clr>
        </p15:guide>
        <p15:guide id="5" orient="horz" pos="713">
          <p15:clr>
            <a:srgbClr val="A4A3A4"/>
          </p15:clr>
        </p15:guide>
        <p15:guide id="6" orient="horz" pos="2391">
          <p15:clr>
            <a:srgbClr val="A4A3A4"/>
          </p15:clr>
        </p15:guide>
        <p15:guide id="7" pos="5443">
          <p15:clr>
            <a:srgbClr val="A4A3A4"/>
          </p15:clr>
        </p15:guide>
        <p15:guide id="8" pos="317">
          <p15:clr>
            <a:srgbClr val="A4A3A4"/>
          </p15:clr>
        </p15:guide>
        <p15:guide id="9" orient="horz" pos="1166" userDrawn="1">
          <p15:clr>
            <a:srgbClr val="A4A3A4"/>
          </p15:clr>
        </p15:guide>
        <p15:guide id="11" orient="horz" pos="2822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 Sli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E11D67BA-0635-436E-8DF9-96E1531521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5057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12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图片 3" descr="Nint PPT 20220315-30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chemeClr val="bg1"/>
                </a:solidFill>
              </a:rPr>
              <a:t>www.nint.com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3C67214-71C5-45C9-8EDD-C90FBE5AE1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9109" y="1346557"/>
            <a:ext cx="7422776" cy="737298"/>
          </a:xfrm>
        </p:spPr>
        <p:txBody>
          <a:bodyPr vert="horz" anchor="t">
            <a:normAutofit/>
          </a:bodyPr>
          <a:lstStyle>
            <a:lvl1pPr algn="ctr">
              <a:defRPr sz="4000" b="1">
                <a:solidFill>
                  <a:srgbClr val="00FFFF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文本占位符 21">
            <a:extLst>
              <a:ext uri="{FF2B5EF4-FFF2-40B4-BE49-F238E27FC236}">
                <a16:creationId xmlns:a16="http://schemas.microsoft.com/office/drawing/2014/main" id="{2A10B2B2-91C1-418C-9EC9-D93D16725AA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9109" y="2117380"/>
            <a:ext cx="7422776" cy="457200"/>
          </a:xfrm>
        </p:spPr>
        <p:txBody>
          <a:bodyPr>
            <a:normAutofit/>
          </a:bodyPr>
          <a:lstStyle>
            <a:lvl1pPr marL="0" indent="0" algn="ctr">
              <a:buNone/>
              <a:defRPr sz="20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5" name="文本占位符 21">
            <a:extLst>
              <a:ext uri="{FF2B5EF4-FFF2-40B4-BE49-F238E27FC236}">
                <a16:creationId xmlns:a16="http://schemas.microsoft.com/office/drawing/2014/main" id="{54497D10-52EA-4E44-B2E5-3DFE81FD07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9112" y="3428453"/>
            <a:ext cx="7422776" cy="36000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21">
            <a:extLst>
              <a:ext uri="{FF2B5EF4-FFF2-40B4-BE49-F238E27FC236}">
                <a16:creationId xmlns:a16="http://schemas.microsoft.com/office/drawing/2014/main" id="{281EEC37-5E6B-4FBF-ABD6-618ED03995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69112" y="3809555"/>
            <a:ext cx="7422776" cy="360000"/>
          </a:xfrm>
        </p:spPr>
        <p:txBody>
          <a:bodyPr>
            <a:normAutofit/>
          </a:bodyPr>
          <a:lstStyle>
            <a:lvl1pPr marL="0" indent="0" algn="ctr">
              <a:buNone/>
              <a:defRPr sz="14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008059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A4A3A4"/>
          </p15:clr>
        </p15:guide>
        <p15:guide id="2" orient="horz" pos="1620" userDrawn="1">
          <p15:clr>
            <a:srgbClr val="A4A3A4"/>
          </p15:clr>
        </p15:guide>
        <p15:guide id="3" orient="horz" pos="373" userDrawn="1">
          <p15:clr>
            <a:srgbClr val="A4A3A4"/>
          </p15:clr>
        </p15:guide>
        <p15:guide id="4" orient="horz" pos="713" userDrawn="1">
          <p15:clr>
            <a:srgbClr val="A4A3A4"/>
          </p15:clr>
        </p15:guide>
        <p15:guide id="5" orient="horz" pos="1166" userDrawn="1">
          <p15:clr>
            <a:srgbClr val="A4A3A4"/>
          </p15:clr>
        </p15:guide>
        <p15:guide id="6" orient="horz" pos="2822" userDrawn="1">
          <p15:clr>
            <a:srgbClr val="A4A3A4"/>
          </p15:clr>
        </p15:guide>
        <p15:guide id="7" orient="horz" pos="2958" userDrawn="1">
          <p15:clr>
            <a:srgbClr val="A4A3A4"/>
          </p15:clr>
        </p15:guide>
        <p15:guide id="8" pos="317" userDrawn="1">
          <p15:clr>
            <a:srgbClr val="A4A3A4"/>
          </p15:clr>
        </p15:guide>
        <p15:guide id="9" pos="5443" userDrawn="1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Nint PPT 20220315-2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9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481467"/>
            <a:ext cx="7086600" cy="2038020"/>
          </a:xfrm>
        </p:spPr>
        <p:txBody>
          <a:bodyPr anchor="t">
            <a:normAutofit/>
          </a:bodyPr>
          <a:lstStyle>
            <a:lvl1pPr algn="l">
              <a:defRPr sz="4000" b="1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19488"/>
            <a:ext cx="7086600" cy="5429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rgbClr val="00FFFF"/>
                </a:solidFill>
                <a:latin typeface="思源黑体 CN Light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图片 7" descr="Nint PPT 20220314-2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932" y="4426178"/>
            <a:ext cx="1374648" cy="292608"/>
          </a:xfrm>
          <a:prstGeom prst="rect">
            <a:avLst/>
          </a:prstGeom>
        </p:spPr>
      </p:pic>
      <p:sp>
        <p:nvSpPr>
          <p:cNvPr id="10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2461276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Nint PPT 20220315-2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3234407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2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852581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Nint PPT 20220315-27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8465240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2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chemeClr val="tx1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>
                <a:solidFill>
                  <a:schemeClr val="tx1"/>
                </a:solidFill>
              </a:rPr>
              <a:t>www.nint.com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538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oleObject" Target="../embeddings/oleObject6.bin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vmlDrawing" Target="../drawings/vmlDrawing6.v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>
            <a:extLst>
              <a:ext uri="{FF2B5EF4-FFF2-40B4-BE49-F238E27FC236}">
                <a16:creationId xmlns:a16="http://schemas.microsoft.com/office/drawing/2014/main" id="{DC04F77F-7686-4D4F-A24C-703423A55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621699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9" name="think-cell 幻灯片" r:id="rId17" imgW="499" imgH="508" progId="TCLayout.ActiveDocument.1">
                  <p:embed/>
                </p:oleObj>
              </mc:Choice>
              <mc:Fallback>
                <p:oleObj name="think-cell 幻灯片" r:id="rId17" imgW="499" imgH="5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C2560D-EC28-3B41-86E8-18F1CE0113B4}" type="datetimeFigureOut">
              <a:rPr lang="en-US" smtClean="0"/>
              <a:t>11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66355A-084C-D24E-9AD2-7E4FC41EA6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84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67" r:id="rId1"/>
    <p:sldLayoutId id="2147493478" r:id="rId2"/>
    <p:sldLayoutId id="2147493479" r:id="rId3"/>
    <p:sldLayoutId id="2147493475" r:id="rId4"/>
    <p:sldLayoutId id="2147493470" r:id="rId5"/>
    <p:sldLayoutId id="2147493469" r:id="rId6"/>
    <p:sldLayoutId id="2147493471" r:id="rId7"/>
    <p:sldLayoutId id="2147493472" r:id="rId8"/>
    <p:sldLayoutId id="2147493473" r:id="rId9"/>
    <p:sldLayoutId id="2147493474" r:id="rId10"/>
    <p:sldLayoutId id="2147493456" r:id="rId11"/>
    <p:sldLayoutId id="2147493477" r:id="rId12"/>
    <p:sldLayoutId id="2147493476" r:id="rId13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>
            <a:extLst>
              <a:ext uri="{FF2B5EF4-FFF2-40B4-BE49-F238E27FC236}">
                <a16:creationId xmlns:a16="http://schemas.microsoft.com/office/drawing/2014/main" id="{DC04F77F-7686-4D4F-A24C-703423A55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76" name="think-cell 幻灯片" r:id="rId17" imgW="499" imgH="508" progId="TCLayout.ActiveDocument.1">
                  <p:embed/>
                </p:oleObj>
              </mc:Choice>
              <mc:Fallback>
                <p:oleObj name="think-cell 幻灯片" r:id="rId17" imgW="499" imgH="508" progId="TCLayout.ActiveDocument.1">
                  <p:embed/>
                  <p:pic>
                    <p:nvPicPr>
                      <p:cNvPr id="8" name="对象 7" hidden="1">
                        <a:extLst>
                          <a:ext uri="{FF2B5EF4-FFF2-40B4-BE49-F238E27FC236}">
                            <a16:creationId xmlns:a16="http://schemas.microsoft.com/office/drawing/2014/main" id="{DC04F77F-7686-4D4F-A24C-703423A55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C2560D-EC28-3B41-86E8-18F1CE0113B4}" type="datetimeFigureOut">
              <a:rPr lang="en-US" smtClean="0"/>
              <a:t>11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66355A-084C-D24E-9AD2-7E4FC41EA6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524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81" r:id="rId1"/>
    <p:sldLayoutId id="2147493482" r:id="rId2"/>
    <p:sldLayoutId id="2147493483" r:id="rId3"/>
    <p:sldLayoutId id="2147493484" r:id="rId4"/>
    <p:sldLayoutId id="2147493485" r:id="rId5"/>
    <p:sldLayoutId id="2147493486" r:id="rId6"/>
    <p:sldLayoutId id="2147493487" r:id="rId7"/>
    <p:sldLayoutId id="2147493488" r:id="rId8"/>
    <p:sldLayoutId id="2147493489" r:id="rId9"/>
    <p:sldLayoutId id="2147493490" r:id="rId10"/>
    <p:sldLayoutId id="2147493491" r:id="rId11"/>
    <p:sldLayoutId id="2147493492" r:id="rId12"/>
    <p:sldLayoutId id="2147493493" r:id="rId13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38.xml"/><Relationship Id="rId21" Type="http://schemas.openxmlformats.org/officeDocument/2006/relationships/tags" Target="../tags/tag33.xml"/><Relationship Id="rId42" Type="http://schemas.openxmlformats.org/officeDocument/2006/relationships/tags" Target="../tags/tag54.xml"/><Relationship Id="rId47" Type="http://schemas.openxmlformats.org/officeDocument/2006/relationships/tags" Target="../tags/tag59.xml"/><Relationship Id="rId63" Type="http://schemas.openxmlformats.org/officeDocument/2006/relationships/tags" Target="../tags/tag75.xml"/><Relationship Id="rId68" Type="http://schemas.openxmlformats.org/officeDocument/2006/relationships/tags" Target="../tags/tag80.xml"/><Relationship Id="rId84" Type="http://schemas.openxmlformats.org/officeDocument/2006/relationships/tags" Target="../tags/tag96.xml"/><Relationship Id="rId89" Type="http://schemas.openxmlformats.org/officeDocument/2006/relationships/image" Target="../media/image1.emf"/><Relationship Id="rId16" Type="http://schemas.openxmlformats.org/officeDocument/2006/relationships/tags" Target="../tags/tag28.xml"/><Relationship Id="rId11" Type="http://schemas.openxmlformats.org/officeDocument/2006/relationships/tags" Target="../tags/tag23.xml"/><Relationship Id="rId32" Type="http://schemas.openxmlformats.org/officeDocument/2006/relationships/tags" Target="../tags/tag44.xml"/><Relationship Id="rId37" Type="http://schemas.openxmlformats.org/officeDocument/2006/relationships/tags" Target="../tags/tag49.xml"/><Relationship Id="rId53" Type="http://schemas.openxmlformats.org/officeDocument/2006/relationships/tags" Target="../tags/tag65.xml"/><Relationship Id="rId58" Type="http://schemas.openxmlformats.org/officeDocument/2006/relationships/tags" Target="../tags/tag70.xml"/><Relationship Id="rId74" Type="http://schemas.openxmlformats.org/officeDocument/2006/relationships/tags" Target="../tags/tag86.xml"/><Relationship Id="rId79" Type="http://schemas.openxmlformats.org/officeDocument/2006/relationships/tags" Target="../tags/tag91.xml"/><Relationship Id="rId5" Type="http://schemas.openxmlformats.org/officeDocument/2006/relationships/tags" Target="../tags/tag17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tags" Target="../tags/tag39.xml"/><Relationship Id="rId30" Type="http://schemas.openxmlformats.org/officeDocument/2006/relationships/tags" Target="../tags/tag42.xml"/><Relationship Id="rId35" Type="http://schemas.openxmlformats.org/officeDocument/2006/relationships/tags" Target="../tags/tag47.xml"/><Relationship Id="rId43" Type="http://schemas.openxmlformats.org/officeDocument/2006/relationships/tags" Target="../tags/tag55.xml"/><Relationship Id="rId48" Type="http://schemas.openxmlformats.org/officeDocument/2006/relationships/tags" Target="../tags/tag60.xml"/><Relationship Id="rId56" Type="http://schemas.openxmlformats.org/officeDocument/2006/relationships/tags" Target="../tags/tag68.xml"/><Relationship Id="rId64" Type="http://schemas.openxmlformats.org/officeDocument/2006/relationships/tags" Target="../tags/tag76.xml"/><Relationship Id="rId69" Type="http://schemas.openxmlformats.org/officeDocument/2006/relationships/tags" Target="../tags/tag81.xml"/><Relationship Id="rId77" Type="http://schemas.openxmlformats.org/officeDocument/2006/relationships/tags" Target="../tags/tag89.xml"/><Relationship Id="rId8" Type="http://schemas.openxmlformats.org/officeDocument/2006/relationships/tags" Target="../tags/tag20.xml"/><Relationship Id="rId51" Type="http://schemas.openxmlformats.org/officeDocument/2006/relationships/tags" Target="../tags/tag63.xml"/><Relationship Id="rId72" Type="http://schemas.openxmlformats.org/officeDocument/2006/relationships/tags" Target="../tags/tag84.xml"/><Relationship Id="rId80" Type="http://schemas.openxmlformats.org/officeDocument/2006/relationships/tags" Target="../tags/tag92.xml"/><Relationship Id="rId85" Type="http://schemas.openxmlformats.org/officeDocument/2006/relationships/slideLayout" Target="../slideLayouts/slideLayout16.xml"/><Relationship Id="rId3" Type="http://schemas.openxmlformats.org/officeDocument/2006/relationships/tags" Target="../tags/tag15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tags" Target="../tags/tag37.xml"/><Relationship Id="rId33" Type="http://schemas.openxmlformats.org/officeDocument/2006/relationships/tags" Target="../tags/tag45.xml"/><Relationship Id="rId38" Type="http://schemas.openxmlformats.org/officeDocument/2006/relationships/tags" Target="../tags/tag50.xml"/><Relationship Id="rId46" Type="http://schemas.openxmlformats.org/officeDocument/2006/relationships/tags" Target="../tags/tag58.xml"/><Relationship Id="rId59" Type="http://schemas.openxmlformats.org/officeDocument/2006/relationships/tags" Target="../tags/tag71.xml"/><Relationship Id="rId67" Type="http://schemas.openxmlformats.org/officeDocument/2006/relationships/tags" Target="../tags/tag79.xml"/><Relationship Id="rId20" Type="http://schemas.openxmlformats.org/officeDocument/2006/relationships/tags" Target="../tags/tag32.xml"/><Relationship Id="rId41" Type="http://schemas.openxmlformats.org/officeDocument/2006/relationships/tags" Target="../tags/tag53.xml"/><Relationship Id="rId54" Type="http://schemas.openxmlformats.org/officeDocument/2006/relationships/tags" Target="../tags/tag66.xml"/><Relationship Id="rId62" Type="http://schemas.openxmlformats.org/officeDocument/2006/relationships/tags" Target="../tags/tag74.xml"/><Relationship Id="rId70" Type="http://schemas.openxmlformats.org/officeDocument/2006/relationships/tags" Target="../tags/tag82.xml"/><Relationship Id="rId75" Type="http://schemas.openxmlformats.org/officeDocument/2006/relationships/tags" Target="../tags/tag87.xml"/><Relationship Id="rId83" Type="http://schemas.openxmlformats.org/officeDocument/2006/relationships/tags" Target="../tags/tag95.xml"/><Relationship Id="rId88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8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28" Type="http://schemas.openxmlformats.org/officeDocument/2006/relationships/tags" Target="../tags/tag40.xml"/><Relationship Id="rId36" Type="http://schemas.openxmlformats.org/officeDocument/2006/relationships/tags" Target="../tags/tag48.xml"/><Relationship Id="rId49" Type="http://schemas.openxmlformats.org/officeDocument/2006/relationships/tags" Target="../tags/tag61.xml"/><Relationship Id="rId57" Type="http://schemas.openxmlformats.org/officeDocument/2006/relationships/tags" Target="../tags/tag69.xml"/><Relationship Id="rId10" Type="http://schemas.openxmlformats.org/officeDocument/2006/relationships/tags" Target="../tags/tag22.xml"/><Relationship Id="rId31" Type="http://schemas.openxmlformats.org/officeDocument/2006/relationships/tags" Target="../tags/tag43.xml"/><Relationship Id="rId44" Type="http://schemas.openxmlformats.org/officeDocument/2006/relationships/tags" Target="../tags/tag56.xml"/><Relationship Id="rId52" Type="http://schemas.openxmlformats.org/officeDocument/2006/relationships/tags" Target="../tags/tag64.xml"/><Relationship Id="rId60" Type="http://schemas.openxmlformats.org/officeDocument/2006/relationships/tags" Target="../tags/tag72.xml"/><Relationship Id="rId65" Type="http://schemas.openxmlformats.org/officeDocument/2006/relationships/tags" Target="../tags/tag77.xml"/><Relationship Id="rId73" Type="http://schemas.openxmlformats.org/officeDocument/2006/relationships/tags" Target="../tags/tag85.xml"/><Relationship Id="rId78" Type="http://schemas.openxmlformats.org/officeDocument/2006/relationships/tags" Target="../tags/tag90.xml"/><Relationship Id="rId81" Type="http://schemas.openxmlformats.org/officeDocument/2006/relationships/tags" Target="../tags/tag93.xml"/><Relationship Id="rId86" Type="http://schemas.openxmlformats.org/officeDocument/2006/relationships/notesSlide" Target="../notesSlides/notesSlide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39" Type="http://schemas.openxmlformats.org/officeDocument/2006/relationships/tags" Target="../tags/tag51.xml"/><Relationship Id="rId34" Type="http://schemas.openxmlformats.org/officeDocument/2006/relationships/tags" Target="../tags/tag46.xml"/><Relationship Id="rId50" Type="http://schemas.openxmlformats.org/officeDocument/2006/relationships/tags" Target="../tags/tag62.xml"/><Relationship Id="rId55" Type="http://schemas.openxmlformats.org/officeDocument/2006/relationships/tags" Target="../tags/tag67.xml"/><Relationship Id="rId76" Type="http://schemas.openxmlformats.org/officeDocument/2006/relationships/tags" Target="../tags/tag88.xml"/><Relationship Id="rId7" Type="http://schemas.openxmlformats.org/officeDocument/2006/relationships/tags" Target="../tags/tag19.xml"/><Relationship Id="rId71" Type="http://schemas.openxmlformats.org/officeDocument/2006/relationships/tags" Target="../tags/tag83.xml"/><Relationship Id="rId2" Type="http://schemas.openxmlformats.org/officeDocument/2006/relationships/tags" Target="../tags/tag14.xml"/><Relationship Id="rId29" Type="http://schemas.openxmlformats.org/officeDocument/2006/relationships/tags" Target="../tags/tag41.xml"/><Relationship Id="rId24" Type="http://schemas.openxmlformats.org/officeDocument/2006/relationships/tags" Target="../tags/tag36.xml"/><Relationship Id="rId40" Type="http://schemas.openxmlformats.org/officeDocument/2006/relationships/tags" Target="../tags/tag52.xml"/><Relationship Id="rId45" Type="http://schemas.openxmlformats.org/officeDocument/2006/relationships/tags" Target="../tags/tag57.xml"/><Relationship Id="rId66" Type="http://schemas.openxmlformats.org/officeDocument/2006/relationships/tags" Target="../tags/tag78.xml"/><Relationship Id="rId87" Type="http://schemas.openxmlformats.org/officeDocument/2006/relationships/chart" Target="../charts/chart1.xml"/><Relationship Id="rId61" Type="http://schemas.openxmlformats.org/officeDocument/2006/relationships/tags" Target="../tags/tag73.xml"/><Relationship Id="rId82" Type="http://schemas.openxmlformats.org/officeDocument/2006/relationships/tags" Target="../tags/tag94.xml"/><Relationship Id="rId19" Type="http://schemas.openxmlformats.org/officeDocument/2006/relationships/tags" Target="../tags/tag31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121.xml"/><Relationship Id="rId21" Type="http://schemas.openxmlformats.org/officeDocument/2006/relationships/tags" Target="../tags/tag116.xml"/><Relationship Id="rId42" Type="http://schemas.openxmlformats.org/officeDocument/2006/relationships/tags" Target="../tags/tag137.xml"/><Relationship Id="rId47" Type="http://schemas.openxmlformats.org/officeDocument/2006/relationships/tags" Target="../tags/tag142.xml"/><Relationship Id="rId63" Type="http://schemas.openxmlformats.org/officeDocument/2006/relationships/tags" Target="../tags/tag158.xml"/><Relationship Id="rId68" Type="http://schemas.openxmlformats.org/officeDocument/2006/relationships/tags" Target="../tags/tag163.xml"/><Relationship Id="rId84" Type="http://schemas.openxmlformats.org/officeDocument/2006/relationships/chart" Target="../charts/chart2.xml"/><Relationship Id="rId16" Type="http://schemas.openxmlformats.org/officeDocument/2006/relationships/tags" Target="../tags/tag111.xml"/><Relationship Id="rId11" Type="http://schemas.openxmlformats.org/officeDocument/2006/relationships/tags" Target="../tags/tag106.xml"/><Relationship Id="rId32" Type="http://schemas.openxmlformats.org/officeDocument/2006/relationships/tags" Target="../tags/tag127.xml"/><Relationship Id="rId37" Type="http://schemas.openxmlformats.org/officeDocument/2006/relationships/tags" Target="../tags/tag132.xml"/><Relationship Id="rId53" Type="http://schemas.openxmlformats.org/officeDocument/2006/relationships/tags" Target="../tags/tag148.xml"/><Relationship Id="rId58" Type="http://schemas.openxmlformats.org/officeDocument/2006/relationships/tags" Target="../tags/tag153.xml"/><Relationship Id="rId74" Type="http://schemas.openxmlformats.org/officeDocument/2006/relationships/tags" Target="../tags/tag169.xml"/><Relationship Id="rId79" Type="http://schemas.openxmlformats.org/officeDocument/2006/relationships/tags" Target="../tags/tag174.xml"/><Relationship Id="rId5" Type="http://schemas.openxmlformats.org/officeDocument/2006/relationships/tags" Target="../tags/tag100.xml"/><Relationship Id="rId19" Type="http://schemas.openxmlformats.org/officeDocument/2006/relationships/tags" Target="../tags/tag114.xml"/><Relationship Id="rId14" Type="http://schemas.openxmlformats.org/officeDocument/2006/relationships/tags" Target="../tags/tag109.xml"/><Relationship Id="rId22" Type="http://schemas.openxmlformats.org/officeDocument/2006/relationships/tags" Target="../tags/tag117.xml"/><Relationship Id="rId27" Type="http://schemas.openxmlformats.org/officeDocument/2006/relationships/tags" Target="../tags/tag122.xml"/><Relationship Id="rId30" Type="http://schemas.openxmlformats.org/officeDocument/2006/relationships/tags" Target="../tags/tag125.xml"/><Relationship Id="rId35" Type="http://schemas.openxmlformats.org/officeDocument/2006/relationships/tags" Target="../tags/tag130.xml"/><Relationship Id="rId43" Type="http://schemas.openxmlformats.org/officeDocument/2006/relationships/tags" Target="../tags/tag138.xml"/><Relationship Id="rId48" Type="http://schemas.openxmlformats.org/officeDocument/2006/relationships/tags" Target="../tags/tag143.xml"/><Relationship Id="rId56" Type="http://schemas.openxmlformats.org/officeDocument/2006/relationships/tags" Target="../tags/tag151.xml"/><Relationship Id="rId64" Type="http://schemas.openxmlformats.org/officeDocument/2006/relationships/tags" Target="../tags/tag159.xml"/><Relationship Id="rId69" Type="http://schemas.openxmlformats.org/officeDocument/2006/relationships/tags" Target="../tags/tag164.xml"/><Relationship Id="rId77" Type="http://schemas.openxmlformats.org/officeDocument/2006/relationships/tags" Target="../tags/tag172.xml"/><Relationship Id="rId8" Type="http://schemas.openxmlformats.org/officeDocument/2006/relationships/tags" Target="../tags/tag103.xml"/><Relationship Id="rId51" Type="http://schemas.openxmlformats.org/officeDocument/2006/relationships/tags" Target="../tags/tag146.xml"/><Relationship Id="rId72" Type="http://schemas.openxmlformats.org/officeDocument/2006/relationships/tags" Target="../tags/tag167.xml"/><Relationship Id="rId80" Type="http://schemas.openxmlformats.org/officeDocument/2006/relationships/tags" Target="../tags/tag175.xml"/><Relationship Id="rId85" Type="http://schemas.openxmlformats.org/officeDocument/2006/relationships/oleObject" Target="../embeddings/oleObject14.bin"/><Relationship Id="rId3" Type="http://schemas.openxmlformats.org/officeDocument/2006/relationships/tags" Target="../tags/tag98.xml"/><Relationship Id="rId12" Type="http://schemas.openxmlformats.org/officeDocument/2006/relationships/tags" Target="../tags/tag107.xml"/><Relationship Id="rId17" Type="http://schemas.openxmlformats.org/officeDocument/2006/relationships/tags" Target="../tags/tag112.xml"/><Relationship Id="rId25" Type="http://schemas.openxmlformats.org/officeDocument/2006/relationships/tags" Target="../tags/tag120.xml"/><Relationship Id="rId33" Type="http://schemas.openxmlformats.org/officeDocument/2006/relationships/tags" Target="../tags/tag128.xml"/><Relationship Id="rId38" Type="http://schemas.openxmlformats.org/officeDocument/2006/relationships/tags" Target="../tags/tag133.xml"/><Relationship Id="rId46" Type="http://schemas.openxmlformats.org/officeDocument/2006/relationships/tags" Target="../tags/tag141.xml"/><Relationship Id="rId59" Type="http://schemas.openxmlformats.org/officeDocument/2006/relationships/tags" Target="../tags/tag154.xml"/><Relationship Id="rId67" Type="http://schemas.openxmlformats.org/officeDocument/2006/relationships/tags" Target="../tags/tag162.xml"/><Relationship Id="rId20" Type="http://schemas.openxmlformats.org/officeDocument/2006/relationships/tags" Target="../tags/tag115.xml"/><Relationship Id="rId41" Type="http://schemas.openxmlformats.org/officeDocument/2006/relationships/tags" Target="../tags/tag136.xml"/><Relationship Id="rId54" Type="http://schemas.openxmlformats.org/officeDocument/2006/relationships/tags" Target="../tags/tag149.xml"/><Relationship Id="rId62" Type="http://schemas.openxmlformats.org/officeDocument/2006/relationships/tags" Target="../tags/tag157.xml"/><Relationship Id="rId70" Type="http://schemas.openxmlformats.org/officeDocument/2006/relationships/tags" Target="../tags/tag165.xml"/><Relationship Id="rId75" Type="http://schemas.openxmlformats.org/officeDocument/2006/relationships/tags" Target="../tags/tag170.xml"/><Relationship Id="rId83" Type="http://schemas.openxmlformats.org/officeDocument/2006/relationships/slideLayout" Target="../slideLayouts/slideLayout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01.xml"/><Relationship Id="rId15" Type="http://schemas.openxmlformats.org/officeDocument/2006/relationships/tags" Target="../tags/tag110.xml"/><Relationship Id="rId23" Type="http://schemas.openxmlformats.org/officeDocument/2006/relationships/tags" Target="../tags/tag118.xml"/><Relationship Id="rId28" Type="http://schemas.openxmlformats.org/officeDocument/2006/relationships/tags" Target="../tags/tag123.xml"/><Relationship Id="rId36" Type="http://schemas.openxmlformats.org/officeDocument/2006/relationships/tags" Target="../tags/tag131.xml"/><Relationship Id="rId49" Type="http://schemas.openxmlformats.org/officeDocument/2006/relationships/tags" Target="../tags/tag144.xml"/><Relationship Id="rId57" Type="http://schemas.openxmlformats.org/officeDocument/2006/relationships/tags" Target="../tags/tag152.xml"/><Relationship Id="rId10" Type="http://schemas.openxmlformats.org/officeDocument/2006/relationships/tags" Target="../tags/tag105.xml"/><Relationship Id="rId31" Type="http://schemas.openxmlformats.org/officeDocument/2006/relationships/tags" Target="../tags/tag126.xml"/><Relationship Id="rId44" Type="http://schemas.openxmlformats.org/officeDocument/2006/relationships/tags" Target="../tags/tag139.xml"/><Relationship Id="rId52" Type="http://schemas.openxmlformats.org/officeDocument/2006/relationships/tags" Target="../tags/tag147.xml"/><Relationship Id="rId60" Type="http://schemas.openxmlformats.org/officeDocument/2006/relationships/tags" Target="../tags/tag155.xml"/><Relationship Id="rId65" Type="http://schemas.openxmlformats.org/officeDocument/2006/relationships/tags" Target="../tags/tag160.xml"/><Relationship Id="rId73" Type="http://schemas.openxmlformats.org/officeDocument/2006/relationships/tags" Target="../tags/tag168.xml"/><Relationship Id="rId78" Type="http://schemas.openxmlformats.org/officeDocument/2006/relationships/tags" Target="../tags/tag173.xml"/><Relationship Id="rId81" Type="http://schemas.openxmlformats.org/officeDocument/2006/relationships/tags" Target="../tags/tag176.xml"/><Relationship Id="rId86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3" Type="http://schemas.openxmlformats.org/officeDocument/2006/relationships/tags" Target="../tags/tag108.xml"/><Relationship Id="rId18" Type="http://schemas.openxmlformats.org/officeDocument/2006/relationships/tags" Target="../tags/tag113.xml"/><Relationship Id="rId39" Type="http://schemas.openxmlformats.org/officeDocument/2006/relationships/tags" Target="../tags/tag134.xml"/><Relationship Id="rId34" Type="http://schemas.openxmlformats.org/officeDocument/2006/relationships/tags" Target="../tags/tag129.xml"/><Relationship Id="rId50" Type="http://schemas.openxmlformats.org/officeDocument/2006/relationships/tags" Target="../tags/tag145.xml"/><Relationship Id="rId55" Type="http://schemas.openxmlformats.org/officeDocument/2006/relationships/tags" Target="../tags/tag150.xml"/><Relationship Id="rId76" Type="http://schemas.openxmlformats.org/officeDocument/2006/relationships/tags" Target="../tags/tag171.xml"/><Relationship Id="rId7" Type="http://schemas.openxmlformats.org/officeDocument/2006/relationships/tags" Target="../tags/tag102.xml"/><Relationship Id="rId71" Type="http://schemas.openxmlformats.org/officeDocument/2006/relationships/tags" Target="../tags/tag166.xml"/><Relationship Id="rId2" Type="http://schemas.openxmlformats.org/officeDocument/2006/relationships/tags" Target="../tags/tag97.xml"/><Relationship Id="rId29" Type="http://schemas.openxmlformats.org/officeDocument/2006/relationships/tags" Target="../tags/tag124.xml"/><Relationship Id="rId24" Type="http://schemas.openxmlformats.org/officeDocument/2006/relationships/tags" Target="../tags/tag119.xml"/><Relationship Id="rId40" Type="http://schemas.openxmlformats.org/officeDocument/2006/relationships/tags" Target="../tags/tag135.xml"/><Relationship Id="rId45" Type="http://schemas.openxmlformats.org/officeDocument/2006/relationships/tags" Target="../tags/tag140.xml"/><Relationship Id="rId66" Type="http://schemas.openxmlformats.org/officeDocument/2006/relationships/tags" Target="../tags/tag161.xml"/><Relationship Id="rId61" Type="http://schemas.openxmlformats.org/officeDocument/2006/relationships/tags" Target="../tags/tag156.xml"/><Relationship Id="rId82" Type="http://schemas.openxmlformats.org/officeDocument/2006/relationships/tags" Target="../tags/tag17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79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82.xml"/><Relationship Id="rId5" Type="http://schemas.openxmlformats.org/officeDocument/2006/relationships/tags" Target="../tags/tag181.xml"/><Relationship Id="rId10" Type="http://schemas.openxmlformats.org/officeDocument/2006/relationships/chart" Target="../charts/chart3.xml"/><Relationship Id="rId4" Type="http://schemas.openxmlformats.org/officeDocument/2006/relationships/tags" Target="../tags/tag180.xml"/><Relationship Id="rId9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13" Type="http://schemas.openxmlformats.org/officeDocument/2006/relationships/tags" Target="../tags/tag194.xml"/><Relationship Id="rId18" Type="http://schemas.openxmlformats.org/officeDocument/2006/relationships/tags" Target="../tags/tag199.xml"/><Relationship Id="rId26" Type="http://schemas.openxmlformats.org/officeDocument/2006/relationships/tags" Target="../tags/tag207.xml"/><Relationship Id="rId3" Type="http://schemas.openxmlformats.org/officeDocument/2006/relationships/tags" Target="../tags/tag184.xml"/><Relationship Id="rId21" Type="http://schemas.openxmlformats.org/officeDocument/2006/relationships/tags" Target="../tags/tag202.xml"/><Relationship Id="rId7" Type="http://schemas.openxmlformats.org/officeDocument/2006/relationships/tags" Target="../tags/tag188.xml"/><Relationship Id="rId12" Type="http://schemas.openxmlformats.org/officeDocument/2006/relationships/tags" Target="../tags/tag193.xml"/><Relationship Id="rId17" Type="http://schemas.openxmlformats.org/officeDocument/2006/relationships/tags" Target="../tags/tag198.xml"/><Relationship Id="rId25" Type="http://schemas.openxmlformats.org/officeDocument/2006/relationships/tags" Target="../tags/tag206.xml"/><Relationship Id="rId2" Type="http://schemas.openxmlformats.org/officeDocument/2006/relationships/tags" Target="../tags/tag183.xml"/><Relationship Id="rId16" Type="http://schemas.openxmlformats.org/officeDocument/2006/relationships/tags" Target="../tags/tag197.xml"/><Relationship Id="rId20" Type="http://schemas.openxmlformats.org/officeDocument/2006/relationships/tags" Target="../tags/tag201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16.vml"/><Relationship Id="rId6" Type="http://schemas.openxmlformats.org/officeDocument/2006/relationships/tags" Target="../tags/tag187.xml"/><Relationship Id="rId11" Type="http://schemas.openxmlformats.org/officeDocument/2006/relationships/tags" Target="../tags/tag192.xml"/><Relationship Id="rId24" Type="http://schemas.openxmlformats.org/officeDocument/2006/relationships/tags" Target="../tags/tag205.xml"/><Relationship Id="rId5" Type="http://schemas.openxmlformats.org/officeDocument/2006/relationships/tags" Target="../tags/tag186.xml"/><Relationship Id="rId15" Type="http://schemas.openxmlformats.org/officeDocument/2006/relationships/tags" Target="../tags/tag196.xml"/><Relationship Id="rId23" Type="http://schemas.openxmlformats.org/officeDocument/2006/relationships/tags" Target="../tags/tag204.xml"/><Relationship Id="rId28" Type="http://schemas.openxmlformats.org/officeDocument/2006/relationships/oleObject" Target="../embeddings/oleObject16.bin"/><Relationship Id="rId10" Type="http://schemas.openxmlformats.org/officeDocument/2006/relationships/tags" Target="../tags/tag191.xml"/><Relationship Id="rId19" Type="http://schemas.openxmlformats.org/officeDocument/2006/relationships/tags" Target="../tags/tag200.xml"/><Relationship Id="rId4" Type="http://schemas.openxmlformats.org/officeDocument/2006/relationships/tags" Target="../tags/tag185.xml"/><Relationship Id="rId9" Type="http://schemas.openxmlformats.org/officeDocument/2006/relationships/tags" Target="../tags/tag190.xml"/><Relationship Id="rId14" Type="http://schemas.openxmlformats.org/officeDocument/2006/relationships/tags" Target="../tags/tag195.xml"/><Relationship Id="rId22" Type="http://schemas.openxmlformats.org/officeDocument/2006/relationships/tags" Target="../tags/tag203.xml"/><Relationship Id="rId27" Type="http://schemas.openxmlformats.org/officeDocument/2006/relationships/slideLayout" Target="../slideLayouts/slideLayout16.xml"/><Relationship Id="rId30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13" Type="http://schemas.openxmlformats.org/officeDocument/2006/relationships/tags" Target="../tags/tag219.xml"/><Relationship Id="rId18" Type="http://schemas.openxmlformats.org/officeDocument/2006/relationships/tags" Target="../tags/tag224.xml"/><Relationship Id="rId26" Type="http://schemas.openxmlformats.org/officeDocument/2006/relationships/tags" Target="../tags/tag232.xml"/><Relationship Id="rId3" Type="http://schemas.openxmlformats.org/officeDocument/2006/relationships/tags" Target="../tags/tag209.xml"/><Relationship Id="rId21" Type="http://schemas.openxmlformats.org/officeDocument/2006/relationships/tags" Target="../tags/tag227.xml"/><Relationship Id="rId7" Type="http://schemas.openxmlformats.org/officeDocument/2006/relationships/tags" Target="../tags/tag213.xml"/><Relationship Id="rId12" Type="http://schemas.openxmlformats.org/officeDocument/2006/relationships/tags" Target="../tags/tag218.xml"/><Relationship Id="rId17" Type="http://schemas.openxmlformats.org/officeDocument/2006/relationships/tags" Target="../tags/tag223.xml"/><Relationship Id="rId25" Type="http://schemas.openxmlformats.org/officeDocument/2006/relationships/tags" Target="../tags/tag231.xml"/><Relationship Id="rId2" Type="http://schemas.openxmlformats.org/officeDocument/2006/relationships/tags" Target="../tags/tag208.xml"/><Relationship Id="rId16" Type="http://schemas.openxmlformats.org/officeDocument/2006/relationships/tags" Target="../tags/tag222.xml"/><Relationship Id="rId20" Type="http://schemas.openxmlformats.org/officeDocument/2006/relationships/tags" Target="../tags/tag226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17.vml"/><Relationship Id="rId6" Type="http://schemas.openxmlformats.org/officeDocument/2006/relationships/tags" Target="../tags/tag212.xml"/><Relationship Id="rId11" Type="http://schemas.openxmlformats.org/officeDocument/2006/relationships/tags" Target="../tags/tag217.xml"/><Relationship Id="rId24" Type="http://schemas.openxmlformats.org/officeDocument/2006/relationships/tags" Target="../tags/tag230.xml"/><Relationship Id="rId5" Type="http://schemas.openxmlformats.org/officeDocument/2006/relationships/tags" Target="../tags/tag211.xml"/><Relationship Id="rId15" Type="http://schemas.openxmlformats.org/officeDocument/2006/relationships/tags" Target="../tags/tag221.xml"/><Relationship Id="rId23" Type="http://schemas.openxmlformats.org/officeDocument/2006/relationships/tags" Target="../tags/tag229.xml"/><Relationship Id="rId28" Type="http://schemas.openxmlformats.org/officeDocument/2006/relationships/oleObject" Target="../embeddings/oleObject17.bin"/><Relationship Id="rId10" Type="http://schemas.openxmlformats.org/officeDocument/2006/relationships/tags" Target="../tags/tag216.xml"/><Relationship Id="rId19" Type="http://schemas.openxmlformats.org/officeDocument/2006/relationships/tags" Target="../tags/tag225.xml"/><Relationship Id="rId4" Type="http://schemas.openxmlformats.org/officeDocument/2006/relationships/tags" Target="../tags/tag210.xml"/><Relationship Id="rId9" Type="http://schemas.openxmlformats.org/officeDocument/2006/relationships/tags" Target="../tags/tag215.xml"/><Relationship Id="rId14" Type="http://schemas.openxmlformats.org/officeDocument/2006/relationships/tags" Target="../tags/tag220.xml"/><Relationship Id="rId22" Type="http://schemas.openxmlformats.org/officeDocument/2006/relationships/tags" Target="../tags/tag228.xml"/><Relationship Id="rId27" Type="http://schemas.openxmlformats.org/officeDocument/2006/relationships/slideLayout" Target="../slideLayouts/slideLayout16.xml"/><Relationship Id="rId30" Type="http://schemas.openxmlformats.org/officeDocument/2006/relationships/chart" Target="../charts/chart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13" Type="http://schemas.openxmlformats.org/officeDocument/2006/relationships/tags" Target="../tags/tag244.xml"/><Relationship Id="rId18" Type="http://schemas.openxmlformats.org/officeDocument/2006/relationships/tags" Target="../tags/tag249.xml"/><Relationship Id="rId26" Type="http://schemas.openxmlformats.org/officeDocument/2006/relationships/tags" Target="../tags/tag257.xml"/><Relationship Id="rId3" Type="http://schemas.openxmlformats.org/officeDocument/2006/relationships/tags" Target="../tags/tag234.xml"/><Relationship Id="rId21" Type="http://schemas.openxmlformats.org/officeDocument/2006/relationships/tags" Target="../tags/tag252.xml"/><Relationship Id="rId7" Type="http://schemas.openxmlformats.org/officeDocument/2006/relationships/tags" Target="../tags/tag238.xml"/><Relationship Id="rId12" Type="http://schemas.openxmlformats.org/officeDocument/2006/relationships/tags" Target="../tags/tag243.xml"/><Relationship Id="rId17" Type="http://schemas.openxmlformats.org/officeDocument/2006/relationships/tags" Target="../tags/tag248.xml"/><Relationship Id="rId25" Type="http://schemas.openxmlformats.org/officeDocument/2006/relationships/tags" Target="../tags/tag256.xml"/><Relationship Id="rId2" Type="http://schemas.openxmlformats.org/officeDocument/2006/relationships/tags" Target="../tags/tag233.xml"/><Relationship Id="rId16" Type="http://schemas.openxmlformats.org/officeDocument/2006/relationships/tags" Target="../tags/tag247.xml"/><Relationship Id="rId20" Type="http://schemas.openxmlformats.org/officeDocument/2006/relationships/tags" Target="../tags/tag251.xml"/><Relationship Id="rId29" Type="http://schemas.openxmlformats.org/officeDocument/2006/relationships/oleObject" Target="../embeddings/oleObject18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37.xml"/><Relationship Id="rId11" Type="http://schemas.openxmlformats.org/officeDocument/2006/relationships/tags" Target="../tags/tag242.xml"/><Relationship Id="rId24" Type="http://schemas.openxmlformats.org/officeDocument/2006/relationships/tags" Target="../tags/tag255.xml"/><Relationship Id="rId5" Type="http://schemas.openxmlformats.org/officeDocument/2006/relationships/tags" Target="../tags/tag236.xml"/><Relationship Id="rId15" Type="http://schemas.openxmlformats.org/officeDocument/2006/relationships/tags" Target="../tags/tag246.xml"/><Relationship Id="rId23" Type="http://schemas.openxmlformats.org/officeDocument/2006/relationships/tags" Target="../tags/tag254.xml"/><Relationship Id="rId28" Type="http://schemas.openxmlformats.org/officeDocument/2006/relationships/notesSlide" Target="../notesSlides/notesSlide3.xml"/><Relationship Id="rId10" Type="http://schemas.openxmlformats.org/officeDocument/2006/relationships/tags" Target="../tags/tag241.xml"/><Relationship Id="rId19" Type="http://schemas.openxmlformats.org/officeDocument/2006/relationships/tags" Target="../tags/tag250.xml"/><Relationship Id="rId31" Type="http://schemas.openxmlformats.org/officeDocument/2006/relationships/chart" Target="../charts/chart6.xml"/><Relationship Id="rId4" Type="http://schemas.openxmlformats.org/officeDocument/2006/relationships/tags" Target="../tags/tag235.xml"/><Relationship Id="rId9" Type="http://schemas.openxmlformats.org/officeDocument/2006/relationships/tags" Target="../tags/tag240.xml"/><Relationship Id="rId14" Type="http://schemas.openxmlformats.org/officeDocument/2006/relationships/tags" Target="../tags/tag245.xml"/><Relationship Id="rId22" Type="http://schemas.openxmlformats.org/officeDocument/2006/relationships/tags" Target="../tags/tag253.xml"/><Relationship Id="rId27" Type="http://schemas.openxmlformats.org/officeDocument/2006/relationships/slideLayout" Target="../slideLayouts/slideLayout3.xml"/><Relationship Id="rId30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64.xml"/><Relationship Id="rId13" Type="http://schemas.openxmlformats.org/officeDocument/2006/relationships/tags" Target="../tags/tag269.xml"/><Relationship Id="rId18" Type="http://schemas.openxmlformats.org/officeDocument/2006/relationships/tags" Target="../tags/tag274.xml"/><Relationship Id="rId26" Type="http://schemas.openxmlformats.org/officeDocument/2006/relationships/tags" Target="../tags/tag282.xml"/><Relationship Id="rId3" Type="http://schemas.openxmlformats.org/officeDocument/2006/relationships/tags" Target="../tags/tag259.xml"/><Relationship Id="rId21" Type="http://schemas.openxmlformats.org/officeDocument/2006/relationships/tags" Target="../tags/tag277.xml"/><Relationship Id="rId7" Type="http://schemas.openxmlformats.org/officeDocument/2006/relationships/tags" Target="../tags/tag263.xml"/><Relationship Id="rId12" Type="http://schemas.openxmlformats.org/officeDocument/2006/relationships/tags" Target="../tags/tag268.xml"/><Relationship Id="rId17" Type="http://schemas.openxmlformats.org/officeDocument/2006/relationships/tags" Target="../tags/tag273.xml"/><Relationship Id="rId25" Type="http://schemas.openxmlformats.org/officeDocument/2006/relationships/tags" Target="../tags/tag281.xml"/><Relationship Id="rId2" Type="http://schemas.openxmlformats.org/officeDocument/2006/relationships/tags" Target="../tags/tag258.xml"/><Relationship Id="rId16" Type="http://schemas.openxmlformats.org/officeDocument/2006/relationships/tags" Target="../tags/tag272.xml"/><Relationship Id="rId20" Type="http://schemas.openxmlformats.org/officeDocument/2006/relationships/tags" Target="../tags/tag276.xml"/><Relationship Id="rId29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262.xml"/><Relationship Id="rId11" Type="http://schemas.openxmlformats.org/officeDocument/2006/relationships/tags" Target="../tags/tag267.xml"/><Relationship Id="rId24" Type="http://schemas.openxmlformats.org/officeDocument/2006/relationships/tags" Target="../tags/tag280.xml"/><Relationship Id="rId5" Type="http://schemas.openxmlformats.org/officeDocument/2006/relationships/tags" Target="../tags/tag261.xml"/><Relationship Id="rId15" Type="http://schemas.openxmlformats.org/officeDocument/2006/relationships/tags" Target="../tags/tag271.xml"/><Relationship Id="rId23" Type="http://schemas.openxmlformats.org/officeDocument/2006/relationships/tags" Target="../tags/tag279.xml"/><Relationship Id="rId28" Type="http://schemas.openxmlformats.org/officeDocument/2006/relationships/notesSlide" Target="../notesSlides/notesSlide4.xml"/><Relationship Id="rId10" Type="http://schemas.openxmlformats.org/officeDocument/2006/relationships/tags" Target="../tags/tag266.xml"/><Relationship Id="rId19" Type="http://schemas.openxmlformats.org/officeDocument/2006/relationships/tags" Target="../tags/tag275.xml"/><Relationship Id="rId31" Type="http://schemas.openxmlformats.org/officeDocument/2006/relationships/chart" Target="../charts/chart7.xml"/><Relationship Id="rId4" Type="http://schemas.openxmlformats.org/officeDocument/2006/relationships/tags" Target="../tags/tag260.xml"/><Relationship Id="rId9" Type="http://schemas.openxmlformats.org/officeDocument/2006/relationships/tags" Target="../tags/tag265.xml"/><Relationship Id="rId14" Type="http://schemas.openxmlformats.org/officeDocument/2006/relationships/tags" Target="../tags/tag270.xml"/><Relationship Id="rId22" Type="http://schemas.openxmlformats.org/officeDocument/2006/relationships/tags" Target="../tags/tag278.xml"/><Relationship Id="rId27" Type="http://schemas.openxmlformats.org/officeDocument/2006/relationships/slideLayout" Target="../slideLayouts/slideLayout3.xml"/><Relationship Id="rId30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>
            <a:extLst>
              <a:ext uri="{FF2B5EF4-FFF2-40B4-BE49-F238E27FC236}">
                <a16:creationId xmlns:a16="http://schemas.microsoft.com/office/drawing/2014/main" id="{2A7D9293-B56C-4009-8AB6-663BABC729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0850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9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占位符 5">
            <a:extLst>
              <a:ext uri="{FF2B5EF4-FFF2-40B4-BE49-F238E27FC236}">
                <a16:creationId xmlns:a16="http://schemas.microsoft.com/office/drawing/2014/main" id="{864997EE-F933-487B-B6A4-9D34EA4098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r>
              <a:rPr kumimoji="1" lang="en-US" altLang="zh-CN" dirty="0"/>
              <a:t>Data updated to Oct23</a:t>
            </a:r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14A24809-59B4-472C-B680-8CDBF02C9C7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kumimoji="1" lang="en-US" altLang="zh-CN">
                <a:latin typeface="+mn-lt"/>
              </a:rPr>
              <a:t>Friesland Monthly Report</a:t>
            </a:r>
            <a:endParaRPr lang="zh-CN" alt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485527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en-US" altLang="zh-CN" dirty="0"/>
              <a:t>THANKS</a:t>
            </a:r>
            <a:endParaRPr kumimoji="1"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608247" y="1105288"/>
            <a:ext cx="7772400" cy="1204071"/>
          </a:xfrm>
        </p:spPr>
        <p:txBody>
          <a:bodyPr/>
          <a:lstStyle/>
          <a:p>
            <a:r>
              <a:rPr kumimoji="1" lang="zh-CN" altLang="en-US" dirty="0"/>
              <a:t>谢谢</a:t>
            </a:r>
          </a:p>
        </p:txBody>
      </p:sp>
    </p:spTree>
    <p:extLst>
      <p:ext uri="{BB962C8B-B14F-4D97-AF65-F5344CB8AC3E}">
        <p14:creationId xmlns:p14="http://schemas.microsoft.com/office/powerpoint/2010/main" val="18957917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29" name="think-cell 幻灯片" r:id="rId5" imgW="499" imgH="508" progId="TCLayout.ActiveDocument.1">
                  <p:embed/>
                </p:oleObj>
              </mc:Choice>
              <mc:Fallback>
                <p:oleObj name="think-cell 幻灯片" r:id="rId5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Total Category vs Friesland Performance Summary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In Oct23, value share of total Friesland achieved 15.7% (0.7%)</a:t>
            </a: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C53CC126-07E3-4DDF-9FC4-B9B8F1A81B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6811952"/>
              </p:ext>
            </p:extLst>
          </p:nvPr>
        </p:nvGraphicFramePr>
        <p:xfrm>
          <a:off x="518160" y="992120"/>
          <a:ext cx="7847919" cy="3622653"/>
        </p:xfrm>
        <a:graphic>
          <a:graphicData uri="http://schemas.openxmlformats.org/drawingml/2006/table">
            <a:tbl>
              <a:tblPr/>
              <a:tblGrid>
                <a:gridCol w="1112875">
                  <a:extLst>
                    <a:ext uri="{9D8B030D-6E8A-4147-A177-3AD203B41FA5}">
                      <a16:colId xmlns:a16="http://schemas.microsoft.com/office/drawing/2014/main" val="3980714022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632582244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3325404189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1671126616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3668454092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4030610830"/>
                    </a:ext>
                  </a:extLst>
                </a:gridCol>
                <a:gridCol w="402649">
                  <a:extLst>
                    <a:ext uri="{9D8B030D-6E8A-4147-A177-3AD203B41FA5}">
                      <a16:colId xmlns:a16="http://schemas.microsoft.com/office/drawing/2014/main" val="1511521897"/>
                    </a:ext>
                  </a:extLst>
                </a:gridCol>
                <a:gridCol w="1112875">
                  <a:extLst>
                    <a:ext uri="{9D8B030D-6E8A-4147-A177-3AD203B41FA5}">
                      <a16:colId xmlns:a16="http://schemas.microsoft.com/office/drawing/2014/main" val="3795685323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1708585787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1269363478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1050544622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320131104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2779477706"/>
                    </a:ext>
                  </a:extLst>
                </a:gridCol>
              </a:tblGrid>
              <a:tr h="88306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行业 | 销售额 (000元)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9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10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R%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R%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　</a:t>
                      </a:r>
                      <a:endParaRPr lang="en-US" altLang="zh-CN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13" marR="4513" marT="451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行业 | 销售额份额%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9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10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AP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AP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11528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2676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8918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13198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4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0042692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1513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2832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4839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8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73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71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67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3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5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2973115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1163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6085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68358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8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3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7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9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2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5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9896184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6833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7477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7013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71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1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7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7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2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3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2581643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329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8608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1345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7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9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7620229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9496055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美素佳儿（金装+源悦+皇家+旺玥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1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美素佳儿（金装+源悦+皇家+旺玥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1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3364508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1357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2779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3411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6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7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9085067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5318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5619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2408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3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6431772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6038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7160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1003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53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3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6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6707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832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211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7797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85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5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6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8914738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205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949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205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8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1175970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6768333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皇家美素佳儿（不含旺玥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1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皇家美素佳儿（不含旺玥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1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951364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8527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0267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9887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7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9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2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2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5687077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3192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3832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9995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4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6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2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6464319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5334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6434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9892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53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7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9627620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441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84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7109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85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5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2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143859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893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594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782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7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6396660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3738469"/>
                  </a:ext>
                </a:extLst>
              </a:tr>
              <a:tr h="8689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皇家美素佳儿（旺玥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1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皇家美素佳儿（旺玥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1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7088099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02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22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29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69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9721533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53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83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68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2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794340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9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8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6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13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1079264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9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9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37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69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6412589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9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9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3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3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4035455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2137460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美素佳儿（金装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1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美素佳儿（金装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1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57161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57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74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99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96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1574084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07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44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98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6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95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699544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9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9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94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99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468346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9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9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94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99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8956734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0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182035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1946622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美素佳儿（源悦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1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美素佳儿（源悦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1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614236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37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215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994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5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830654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765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558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046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1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636940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605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657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948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4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0927755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02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12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549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76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9985696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02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45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99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1512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6075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7" name="图表 126">
            <a:extLst>
              <a:ext uri="{FF2B5EF4-FFF2-40B4-BE49-F238E27FC236}">
                <a16:creationId xmlns:a16="http://schemas.microsoft.com/office/drawing/2014/main" id="{FCACDF22-D60F-4CBE-9121-DE816D759F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3002869"/>
              </p:ext>
            </p:extLst>
          </p:nvPr>
        </p:nvGraphicFramePr>
        <p:xfrm>
          <a:off x="2237835" y="1781178"/>
          <a:ext cx="6374015" cy="1554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7"/>
          </a:graphicData>
        </a:graphic>
      </p:graphicFrame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12" name="think-cell 幻灯片" r:id="rId88" imgW="499" imgH="508" progId="TCLayout.ActiveDocument.1">
                  <p:embed/>
                </p:oleObj>
              </mc:Choice>
              <mc:Fallback>
                <p:oleObj name="think-cell 幻灯片" r:id="rId88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Channel Valu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JD contributed the most share (69.6%) in in-border channel. </a:t>
            </a:r>
          </a:p>
          <a:p>
            <a:r>
              <a:rPr lang="en-US" altLang="zh-CN" dirty="0"/>
              <a:t>For Friesland, JD showed importance (69.4%) and increased by +2.2%.</a:t>
            </a:r>
          </a:p>
        </p:txBody>
      </p:sp>
      <p:sp>
        <p:nvSpPr>
          <p:cNvPr id="168" name="矩形 167">
            <a:extLst>
              <a:ext uri="{FF2B5EF4-FFF2-40B4-BE49-F238E27FC236}">
                <a16:creationId xmlns:a16="http://schemas.microsoft.com/office/drawing/2014/main" id="{AE734146-84F4-46D0-A8D9-E7E81FB58AC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62000" y="3830638"/>
            <a:ext cx="160338" cy="120650"/>
          </a:xfrm>
          <a:prstGeom prst="rect">
            <a:avLst/>
          </a:prstGeom>
          <a:solidFill>
            <a:srgbClr val="C3CFE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cs typeface="+mn-cs"/>
            </a:endParaRPr>
          </a:p>
        </p:txBody>
      </p:sp>
      <p:sp>
        <p:nvSpPr>
          <p:cNvPr id="169" name="矩形 168">
            <a:extLst>
              <a:ext uri="{FF2B5EF4-FFF2-40B4-BE49-F238E27FC236}">
                <a16:creationId xmlns:a16="http://schemas.microsoft.com/office/drawing/2014/main" id="{4A964EEA-01C6-45D1-A4BE-4D476580EFB4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62000" y="4017963"/>
            <a:ext cx="160338" cy="120650"/>
          </a:xfrm>
          <a:prstGeom prst="rect">
            <a:avLst/>
          </a:prstGeom>
          <a:solidFill>
            <a:srgbClr val="6F8DB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cs typeface="+mn-cs"/>
            </a:endParaRPr>
          </a:p>
        </p:txBody>
      </p:sp>
      <p:sp>
        <p:nvSpPr>
          <p:cNvPr id="170" name="矩形 169">
            <a:extLst>
              <a:ext uri="{FF2B5EF4-FFF2-40B4-BE49-F238E27FC236}">
                <a16:creationId xmlns:a16="http://schemas.microsoft.com/office/drawing/2014/main" id="{977AFDAD-55C6-4D91-8B79-3462721153B5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62000" y="4205288"/>
            <a:ext cx="160338" cy="120650"/>
          </a:xfrm>
          <a:prstGeom prst="rect">
            <a:avLst/>
          </a:prstGeom>
          <a:solidFill>
            <a:srgbClr val="4C6C9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cs typeface="+mn-cs"/>
            </a:endParaRPr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C92C5154-9839-4762-B527-7CEF21A7C46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73138" y="3827463"/>
            <a:ext cx="1298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F8B9CB02-0C87-48D0-8BC7-1BAF55F2CFD7}" type="datetime'''京''''''东''''''''(''''国内''''''''''自营''''''+国内''''''''POP)'">
              <a:rPr kumimoji="0" lang="zh-CN" alt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京东(国内自营+国内POP)</a:t>
            </a:fld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2A259F4A-99E8-4303-951A-DDE9EDBB3E4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73138" y="4014788"/>
            <a:ext cx="12858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506080D6-775C-424A-878D-BDE3B45CA596}" type="datetime'''''''国内天猫''(''''旗''''舰''店''''''+''分销''''店'''''''')'''">
              <a:rPr kumimoji="0" lang="zh-CN" alt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国内天猫(旗舰店+分销店)</a:t>
            </a:fld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id="{13A15A67-D551-4809-A09C-5B419D97050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73138" y="4202113"/>
            <a:ext cx="457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A59D57B2-F23C-4B0C-A7C4-B2C17A480F26}" type="datetime'''''国''''''''内''''''''''猫''''''''''''''''''''超'''''''''''''">
              <a:rPr kumimoji="0" lang="zh-CN" alt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国内猫超</a:t>
            </a:fld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2" name="文本占位符 8">
            <a:extLst>
              <a:ext uri="{FF2B5EF4-FFF2-40B4-BE49-F238E27FC236}">
                <a16:creationId xmlns:a16="http://schemas.microsoft.com/office/drawing/2014/main" id="{EFDD9A42-70AB-4305-88E1-4A082FBC8CB1}"/>
              </a:ext>
            </a:extLst>
          </p:cNvPr>
          <p:cNvSpPr txBox="1">
            <a:spLocks/>
          </p:cNvSpPr>
          <p:nvPr/>
        </p:nvSpPr>
        <p:spPr>
          <a:xfrm>
            <a:off x="503238" y="1637713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Sales value M</a:t>
            </a:r>
            <a:endParaRPr kumimoji="1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Microsoft YaHei" panose="020B0503020204020204" pitchFamily="34" charset="-122"/>
              <a:cs typeface="+mn-cs"/>
            </a:endParaRPr>
          </a:p>
        </p:txBody>
      </p:sp>
      <p:graphicFrame>
        <p:nvGraphicFramePr>
          <p:cNvPr id="247" name="表格 246">
            <a:extLst>
              <a:ext uri="{FF2B5EF4-FFF2-40B4-BE49-F238E27FC236}">
                <a16:creationId xmlns:a16="http://schemas.microsoft.com/office/drawing/2014/main" id="{D5BAA37A-02CC-4DBD-851D-3F233C39AE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2079608"/>
              </p:ext>
            </p:extLst>
          </p:nvPr>
        </p:nvGraphicFramePr>
        <p:xfrm>
          <a:off x="2105536" y="3780788"/>
          <a:ext cx="6705600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7600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2249244277"/>
                    </a:ext>
                  </a:extLst>
                </a:gridCol>
              </a:tblGrid>
              <a:tr h="16454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>
                          <a:solidFill>
                            <a:srgbClr val="000000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+5.0%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>
                          <a:solidFill>
                            <a:srgbClr val="000000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+2.2%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>
                          <a:solidFill>
                            <a:srgbClr val="000000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+18.4%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dirty="0">
                          <a:solidFill>
                            <a:srgbClr val="FF0000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-64.6%</a:t>
                      </a:r>
                      <a:endParaRPr lang="zh-CN" altLang="en-US" sz="800" b="0" dirty="0">
                        <a:solidFill>
                          <a:srgbClr val="FF0000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dirty="0">
                        <a:solidFill>
                          <a:srgbClr val="FF0000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6454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18.9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15.5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4.0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 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dirty="0">
                          <a:solidFill>
                            <a:srgbClr val="FF0000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-84.0%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 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6454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20.3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12.1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+1.9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 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dirty="0">
                          <a:solidFill>
                            <a:srgbClr val="FF0000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-70.5%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 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5234164"/>
                  </a:ext>
                </a:extLst>
              </a:tr>
            </a:tbl>
          </a:graphicData>
        </a:graphic>
      </p:graphicFrame>
      <p:sp>
        <p:nvSpPr>
          <p:cNvPr id="72" name="文本占位符 8">
            <a:extLst>
              <a:ext uri="{FF2B5EF4-FFF2-40B4-BE49-F238E27FC236}">
                <a16:creationId xmlns:a16="http://schemas.microsoft.com/office/drawing/2014/main" id="{3AFA0599-CE81-422F-8863-2F3453F4B3E6}"/>
              </a:ext>
            </a:extLst>
          </p:cNvPr>
          <p:cNvSpPr txBox="1">
            <a:spLocks/>
          </p:cNvSpPr>
          <p:nvPr/>
        </p:nvSpPr>
        <p:spPr>
          <a:xfrm>
            <a:off x="872076" y="3578638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YoY GR</a:t>
            </a: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%</a:t>
            </a:r>
            <a:endParaRPr kumimoji="1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Microsoft YaHei" panose="020B0503020204020204" pitchFamily="34" charset="-122"/>
              <a:cs typeface="+mn-cs"/>
            </a:endParaRPr>
          </a:p>
        </p:txBody>
      </p:sp>
      <p:cxnSp>
        <p:nvCxnSpPr>
          <p:cNvPr id="79" name="直接连接符 78">
            <a:extLst>
              <a:ext uri="{FF2B5EF4-FFF2-40B4-BE49-F238E27FC236}">
                <a16:creationId xmlns:a16="http://schemas.microsoft.com/office/drawing/2014/main" id="{454BD9B7-1D72-4CC7-A4E9-7E4F01116A60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7875588" y="325278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7" name="表格 106">
            <a:extLst>
              <a:ext uri="{FF2B5EF4-FFF2-40B4-BE49-F238E27FC236}">
                <a16:creationId xmlns:a16="http://schemas.microsoft.com/office/drawing/2014/main" id="{8B908B3A-216F-4D29-94A5-4771DFD3FF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8575504"/>
              </p:ext>
            </p:extLst>
          </p:nvPr>
        </p:nvGraphicFramePr>
        <p:xfrm>
          <a:off x="2135080" y="1231021"/>
          <a:ext cx="659878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9798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0012253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（旺玥）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金装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源悦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5CF269CF-834B-461B-9D4E-AA132B09E83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655878" y="33226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E91CB1EA-5D4D-41CD-BB00-B4DB48BCD9D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267699" y="3322638"/>
            <a:ext cx="4678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id="{FFC88AC8-6B2F-4A5F-9BEF-7D0D948211A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739794" y="33226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id="{6BC1B2AC-8E2E-4C08-856E-075C3F9F046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366855" y="3322638"/>
            <a:ext cx="45076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4" name="Text Placeholder 2">
            <a:extLst>
              <a:ext uri="{FF2B5EF4-FFF2-40B4-BE49-F238E27FC236}">
                <a16:creationId xmlns:a16="http://schemas.microsoft.com/office/drawing/2014/main" id="{EB6A1CFD-5DD6-4EB4-A819-8AD3D606144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845011" y="33147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5" name="Text Placeholder 2">
            <a:extLst>
              <a:ext uri="{FF2B5EF4-FFF2-40B4-BE49-F238E27FC236}">
                <a16:creationId xmlns:a16="http://schemas.microsoft.com/office/drawing/2014/main" id="{1807ACB8-D61E-46E8-98B4-A4A5C6AD4F9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464453" y="3314700"/>
            <a:ext cx="44282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6" name="Text Placeholder 2">
            <a:extLst>
              <a:ext uri="{FF2B5EF4-FFF2-40B4-BE49-F238E27FC236}">
                <a16:creationId xmlns:a16="http://schemas.microsoft.com/office/drawing/2014/main" id="{96875920-BC77-40A1-AED5-838CC3CD095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934844" y="33147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074D7688-2E71-4B56-B95C-B92B60F3276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561905" y="33147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D1A2720F-9DD9-446B-8AB4-28EF0EFF28C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027019" y="33226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9" name="Text Placeholder 2">
            <a:extLst>
              <a:ext uri="{FF2B5EF4-FFF2-40B4-BE49-F238E27FC236}">
                <a16:creationId xmlns:a16="http://schemas.microsoft.com/office/drawing/2014/main" id="{D56EF726-543A-46AA-A5DB-66935F703BB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654081" y="3322638"/>
            <a:ext cx="463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648B72D7-9A5E-4DF0-BFD6-47E00728760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131198" y="33280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32B6CC6E-0280-4DB1-8117-992169756AEC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758259" y="3328038"/>
            <a:ext cx="4484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72" name="直接连接符 171">
            <a:extLst>
              <a:ext uri="{FF2B5EF4-FFF2-40B4-BE49-F238E27FC236}">
                <a16:creationId xmlns:a16="http://schemas.microsoft.com/office/drawing/2014/main" id="{5699D39E-C9CE-4C7E-9131-5BF588B6207C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7875588" y="325278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80A8EFB1-2C42-410B-AD74-C9D0863BE90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359978" y="2289493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3.7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F10EE2C7-4950-4ABE-BB2B-ABD1E661021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359978" y="2858612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3.2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30B35384-4538-42B3-BD67-2717B3FB6A8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359978" y="3110320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3.1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0197DF45-3617-4A29-B1B2-8BBF638651C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728405" y="2335902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9.6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6A3B9BFF-698A-448F-9124-AFBECCE0870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728405" y="2912641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9.6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2" name="Text Placeholder 2">
            <a:extLst>
              <a:ext uri="{FF2B5EF4-FFF2-40B4-BE49-F238E27FC236}">
                <a16:creationId xmlns:a16="http://schemas.microsoft.com/office/drawing/2014/main" id="{98DB5542-AB48-40AB-A88C-9FAF6D48C81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728405" y="3126249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0.9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6B5AB8A7-CCA9-4C46-B2D1-17FB5F0FFA5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456799" y="2288486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5.5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479F83D7-B85A-4899-9DD0-497A929D2C4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456799" y="2872845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1.8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50102A82-5628-4B3B-8A2F-5C11AC13B7C8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456799" y="3109313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2.6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0A32C08A-DC5A-459F-86E4-29795AA67CC5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825226" y="2334895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9.4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7" name="Text Placeholder 2">
            <a:extLst>
              <a:ext uri="{FF2B5EF4-FFF2-40B4-BE49-F238E27FC236}">
                <a16:creationId xmlns:a16="http://schemas.microsoft.com/office/drawing/2014/main" id="{2BF3C205-B26B-4315-A301-DD85B57696D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3817606" y="2911634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9.1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0C9EDB11-6092-4795-85ED-4FE20092CBB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3825226" y="3125242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5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BD92BDB5-2E6D-42E1-BB66-C3E5B3533A39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556047" y="2281343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4.7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0BCF4847-F54D-425C-88EE-D71093FCDB4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556047" y="2880942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3.1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009CD09F-9D14-407E-9C2B-1E5C4DB11F9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556047" y="3117410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2.1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2" name="Text Placeholder 2">
            <a:extLst>
              <a:ext uri="{FF2B5EF4-FFF2-40B4-BE49-F238E27FC236}">
                <a16:creationId xmlns:a16="http://schemas.microsoft.com/office/drawing/2014/main" id="{A57086AA-CA0C-4F3F-A655-75CD90DC309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924474" y="2320132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8.9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E135B265-4559-47D6-84A8-F85F2FBFAAA5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4916854" y="2912111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.0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8188F0C7-E82B-4B53-8DAD-86312DE06601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4916854" y="3125719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1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A7EB9AE4-85D2-4574-9D10-67897FF9820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6016088" y="2188373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51.4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EDCF1A7F-F56F-4DCD-AF46-C5FDB47D20A3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6008468" y="2795592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40.8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FC9946E4-447A-4685-AC7B-4890523BD4EB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016088" y="3131120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7.8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243B7CE1-962F-4AC2-9854-A336D12EFB67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743211" y="2290195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7.9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B0035DFC-7B42-4D4A-A178-EC4B29E9E0A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735591" y="2882174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8.2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1914414F-F516-469D-98A9-3A35F44426E8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735591" y="3103402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4.0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EF9C2A9C-1E4B-480B-95BB-A24275FDD066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104018" y="2367084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77.3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5" name="Text Placeholder 2">
            <a:extLst>
              <a:ext uri="{FF2B5EF4-FFF2-40B4-BE49-F238E27FC236}">
                <a16:creationId xmlns:a16="http://schemas.microsoft.com/office/drawing/2014/main" id="{31B512A2-ADFB-4235-B483-449C48FBA4DB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111638" y="2966683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9.4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6" name="Text Placeholder 2">
            <a:extLst>
              <a:ext uri="{FF2B5EF4-FFF2-40B4-BE49-F238E27FC236}">
                <a16:creationId xmlns:a16="http://schemas.microsoft.com/office/drawing/2014/main" id="{7FAF6813-20AA-4F04-B139-578FB82581D6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7104018" y="3111711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3.3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7" name="Text Placeholder 2">
            <a:extLst>
              <a:ext uri="{FF2B5EF4-FFF2-40B4-BE49-F238E27FC236}">
                <a16:creationId xmlns:a16="http://schemas.microsoft.com/office/drawing/2014/main" id="{620F9010-6A2B-4035-9CF9-779E48C71D86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8205754" y="2862429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.1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8" name="Text Placeholder 2">
            <a:extLst>
              <a:ext uri="{FF2B5EF4-FFF2-40B4-BE49-F238E27FC236}">
                <a16:creationId xmlns:a16="http://schemas.microsoft.com/office/drawing/2014/main" id="{87ACAC8B-6C7C-4793-A4D7-CE424FB8DBF4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8205754" y="3099995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4.2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7ED46E34-A41A-4D7D-8238-1AD322F713B1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2330129" y="1680553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1,919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A2D577CF-97DE-4449-8825-30E790A20986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2701686" y="1679764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1,075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1" name="Text Placeholder 2">
            <a:extLst>
              <a:ext uri="{FF2B5EF4-FFF2-40B4-BE49-F238E27FC236}">
                <a16:creationId xmlns:a16="http://schemas.microsoft.com/office/drawing/2014/main" id="{0BDA1C6B-6F6B-487B-AF9F-F7BFC8283EC5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3472149" y="168604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,148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3" name="Text Placeholder 2">
            <a:extLst>
              <a:ext uri="{FF2B5EF4-FFF2-40B4-BE49-F238E27FC236}">
                <a16:creationId xmlns:a16="http://schemas.microsoft.com/office/drawing/2014/main" id="{DB9F13BA-A7BE-4240-95C4-8781FD15A8FA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3840610" y="168604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,04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4" name="Text Placeholder 2">
            <a:extLst>
              <a:ext uri="{FF2B5EF4-FFF2-40B4-BE49-F238E27FC236}">
                <a16:creationId xmlns:a16="http://schemas.microsoft.com/office/drawing/2014/main" id="{DE7189FB-E253-4E96-8C08-B25E08523F16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4932203" y="16725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,595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D8A2C84E-13F2-4D2A-8F0E-8603FF1F8DEA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6038110" y="168806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EFFC623C-7602-4A14-B3C7-EF893C73EF47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8226631" y="169352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18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677872D5-E472-4DEC-9DD1-DFD41890B9BE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4564724" y="167976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,334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9" name="Text Placeholder 2">
            <a:extLst>
              <a:ext uri="{FF2B5EF4-FFF2-40B4-BE49-F238E27FC236}">
                <a16:creationId xmlns:a16="http://schemas.microsoft.com/office/drawing/2014/main" id="{7C14BE03-011D-40A7-81BE-7F5AAAEA1AA4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6755271" y="1677992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815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5594CEE1-D2ED-4600-9A5C-8280565D0EAB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7122750" y="16725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53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25" name="直接连接符 224">
            <a:extLst>
              <a:ext uri="{FF2B5EF4-FFF2-40B4-BE49-F238E27FC236}">
                <a16:creationId xmlns:a16="http://schemas.microsoft.com/office/drawing/2014/main" id="{C1FFBFF2-7484-4CB8-8509-B8FFF78DB30B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5942766" y="2947988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直接连接符 225">
            <a:extLst>
              <a:ext uri="{FF2B5EF4-FFF2-40B4-BE49-F238E27FC236}">
                <a16:creationId xmlns:a16="http://schemas.microsoft.com/office/drawing/2014/main" id="{03A9132F-F7E7-4702-A25C-C5993C5F5CD4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5880853" y="3070225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直接连接符 226">
            <a:extLst>
              <a:ext uri="{FF2B5EF4-FFF2-40B4-BE49-F238E27FC236}">
                <a16:creationId xmlns:a16="http://schemas.microsoft.com/office/drawing/2014/main" id="{D28DF21E-1807-4256-9F7D-9620AE550188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5818941" y="325278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直接连接符 227">
            <a:extLst>
              <a:ext uri="{FF2B5EF4-FFF2-40B4-BE49-F238E27FC236}">
                <a16:creationId xmlns:a16="http://schemas.microsoft.com/office/drawing/2014/main" id="{F7C71FF1-B88A-4D1F-BB72-512026912E04}"/>
              </a:ext>
            </a:extLst>
          </p:cNvPr>
          <p:cNvCxnSpPr>
            <a:cxnSpLocks/>
          </p:cNvCxnSpPr>
          <p:nvPr>
            <p:custDataLst>
              <p:tags r:id="rId65"/>
            </p:custDataLst>
          </p:nvPr>
        </p:nvCxnSpPr>
        <p:spPr bwMode="auto">
          <a:xfrm>
            <a:off x="5864978" y="2947988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直接连接符 228">
            <a:extLst>
              <a:ext uri="{FF2B5EF4-FFF2-40B4-BE49-F238E27FC236}">
                <a16:creationId xmlns:a16="http://schemas.microsoft.com/office/drawing/2014/main" id="{326ACBD3-7B90-4DA7-9448-7C16F98F7E77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5942766" y="2947988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直接连接符 229">
            <a:extLst>
              <a:ext uri="{FF2B5EF4-FFF2-40B4-BE49-F238E27FC236}">
                <a16:creationId xmlns:a16="http://schemas.microsoft.com/office/drawing/2014/main" id="{2863EFAA-B90F-4455-A9ED-FCA2777EBF2D}"/>
              </a:ext>
            </a:extLst>
          </p:cNvPr>
          <p:cNvCxnSpPr>
            <a:cxnSpLocks/>
          </p:cNvCxnSpPr>
          <p:nvPr>
            <p:custDataLst>
              <p:tags r:id="rId67"/>
            </p:custDataLst>
          </p:nvPr>
        </p:nvCxnSpPr>
        <p:spPr bwMode="auto">
          <a:xfrm>
            <a:off x="5864978" y="3070225"/>
            <a:ext cx="158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1" name="直接连接符 230">
            <a:extLst>
              <a:ext uri="{FF2B5EF4-FFF2-40B4-BE49-F238E27FC236}">
                <a16:creationId xmlns:a16="http://schemas.microsoft.com/office/drawing/2014/main" id="{1A22C6CF-B48D-4791-B8A5-0D654A359256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5880853" y="3070225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直接连接符 231">
            <a:extLst>
              <a:ext uri="{FF2B5EF4-FFF2-40B4-BE49-F238E27FC236}">
                <a16:creationId xmlns:a16="http://schemas.microsoft.com/office/drawing/2014/main" id="{2E0E5BC9-8E13-4222-ADD0-5B1E7298FDCB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5818941" y="325278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3" name="Text Placeholder 2">
            <a:extLst>
              <a:ext uri="{FF2B5EF4-FFF2-40B4-BE49-F238E27FC236}">
                <a16:creationId xmlns:a16="http://schemas.microsoft.com/office/drawing/2014/main" id="{F25C3449-A084-496F-B727-DAB4F94D7287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5603041" y="2886075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79AD5DA2-80DA-4E3D-910E-4501708EDB14}" type="datetime'''''''''''''''''''''''''''0''''''''.''0''''''''%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4" name="Text Placeholder 2">
            <a:extLst>
              <a:ext uri="{FF2B5EF4-FFF2-40B4-BE49-F238E27FC236}">
                <a16:creationId xmlns:a16="http://schemas.microsoft.com/office/drawing/2014/main" id="{D236F93D-7F50-4D2B-B61E-7A309DA162C7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5603041" y="3008313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EE07360-5956-490B-80B7-81240F7C2BB1}" type="datetime'''''''''''''''''''''''''''''0.''0''''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7763C11A-B79D-4AFD-9331-0D6EE444EB0F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5603041" y="3130550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82A6D498-85FF-4CDF-BCCF-BA96416AC12F}" type="datetime'''''''''0''''''.''''''''''''''''0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36" name="直接连接符 235">
            <a:extLst>
              <a:ext uri="{FF2B5EF4-FFF2-40B4-BE49-F238E27FC236}">
                <a16:creationId xmlns:a16="http://schemas.microsoft.com/office/drawing/2014/main" id="{028BD6A1-BC1D-4381-992E-DCAF1238C184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8143155" y="2940775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7" name="直接连接符 236">
            <a:extLst>
              <a:ext uri="{FF2B5EF4-FFF2-40B4-BE49-F238E27FC236}">
                <a16:creationId xmlns:a16="http://schemas.microsoft.com/office/drawing/2014/main" id="{BA9E3F9D-0597-4265-B599-9DC70964E1D5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8081242" y="3063012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8" name="直接连接符 237">
            <a:extLst>
              <a:ext uri="{FF2B5EF4-FFF2-40B4-BE49-F238E27FC236}">
                <a16:creationId xmlns:a16="http://schemas.microsoft.com/office/drawing/2014/main" id="{45974A5B-EBDB-46D6-A558-E67BD5D272AB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8019330" y="3245575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9" name="直接连接符 238">
            <a:extLst>
              <a:ext uri="{FF2B5EF4-FFF2-40B4-BE49-F238E27FC236}">
                <a16:creationId xmlns:a16="http://schemas.microsoft.com/office/drawing/2014/main" id="{AE1D1DEF-2986-462F-BCDF-630ABBF2DA58}"/>
              </a:ext>
            </a:extLst>
          </p:cNvPr>
          <p:cNvCxnSpPr>
            <a:cxnSpLocks/>
          </p:cNvCxnSpPr>
          <p:nvPr>
            <p:custDataLst>
              <p:tags r:id="rId76"/>
            </p:custDataLst>
          </p:nvPr>
        </p:nvCxnSpPr>
        <p:spPr bwMode="auto">
          <a:xfrm>
            <a:off x="8065367" y="2940775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0" name="直接连接符 239">
            <a:extLst>
              <a:ext uri="{FF2B5EF4-FFF2-40B4-BE49-F238E27FC236}">
                <a16:creationId xmlns:a16="http://schemas.microsoft.com/office/drawing/2014/main" id="{77314DEF-C830-4258-9FBB-5F59F32237E6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8143155" y="2940775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3" name="直接连接符 242">
            <a:extLst>
              <a:ext uri="{FF2B5EF4-FFF2-40B4-BE49-F238E27FC236}">
                <a16:creationId xmlns:a16="http://schemas.microsoft.com/office/drawing/2014/main" id="{97F6E4F0-CA32-4AFB-A331-96BA832144A6}"/>
              </a:ext>
            </a:extLst>
          </p:cNvPr>
          <p:cNvCxnSpPr>
            <a:cxnSpLocks/>
          </p:cNvCxnSpPr>
          <p:nvPr>
            <p:custDataLst>
              <p:tags r:id="rId78"/>
            </p:custDataLst>
          </p:nvPr>
        </p:nvCxnSpPr>
        <p:spPr bwMode="auto">
          <a:xfrm>
            <a:off x="8065367" y="3063012"/>
            <a:ext cx="158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4" name="直接连接符 243">
            <a:extLst>
              <a:ext uri="{FF2B5EF4-FFF2-40B4-BE49-F238E27FC236}">
                <a16:creationId xmlns:a16="http://schemas.microsoft.com/office/drawing/2014/main" id="{6A300A11-770A-4369-8C3A-864569C6C900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8081242" y="3063012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5" name="直接连接符 244">
            <a:extLst>
              <a:ext uri="{FF2B5EF4-FFF2-40B4-BE49-F238E27FC236}">
                <a16:creationId xmlns:a16="http://schemas.microsoft.com/office/drawing/2014/main" id="{A38CE21A-326C-4EAC-958A-3E6041350350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8019330" y="3245575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14C1F1EF-F1DD-4788-BE66-0E32CBA7AC16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7803430" y="2878862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79AD5DA2-80DA-4E3D-910E-4501708EDB14}" type="datetime'''''''''''''''''''''''''''0''''''''.''0''''''''%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8" name="Text Placeholder 2">
            <a:extLst>
              <a:ext uri="{FF2B5EF4-FFF2-40B4-BE49-F238E27FC236}">
                <a16:creationId xmlns:a16="http://schemas.microsoft.com/office/drawing/2014/main" id="{2DD367CF-849F-4BB6-A981-547AF8D17097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7803430" y="3001100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EE07360-5956-490B-80B7-81240F7C2BB1}" type="datetime'''''''''''''''''''''''''''''0.''0''''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9" name="Text Placeholder 2">
            <a:extLst>
              <a:ext uri="{FF2B5EF4-FFF2-40B4-BE49-F238E27FC236}">
                <a16:creationId xmlns:a16="http://schemas.microsoft.com/office/drawing/2014/main" id="{B00652B9-42C8-4B79-87AE-EC1841CE90EB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7803430" y="3123337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82A6D498-85FF-4CDF-BCCF-BA96416AC12F}" type="datetime'''''''''0''''''.''''''''''''''''0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0" name="Text Placeholder 2">
            <a:extLst>
              <a:ext uri="{FF2B5EF4-FFF2-40B4-BE49-F238E27FC236}">
                <a16:creationId xmlns:a16="http://schemas.microsoft.com/office/drawing/2014/main" id="{AB79ADA5-7A15-427C-98D0-BFA5909A6D3B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8201335" y="2290566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5.8%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99548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1" name="图表 90">
            <a:extLst>
              <a:ext uri="{FF2B5EF4-FFF2-40B4-BE49-F238E27FC236}">
                <a16:creationId xmlns:a16="http://schemas.microsoft.com/office/drawing/2014/main" id="{8A5D61C3-5396-45F5-B29E-E0FFE91EE73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25660114"/>
              </p:ext>
            </p:extLst>
          </p:nvPr>
        </p:nvGraphicFramePr>
        <p:xfrm>
          <a:off x="2246575" y="1813561"/>
          <a:ext cx="6374015" cy="1554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4"/>
          </a:graphicData>
        </a:graphic>
      </p:graphicFrame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8064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65" name="think-cell 幻灯片" r:id="rId85" imgW="499" imgH="508" progId="TCLayout.ActiveDocument.1">
                  <p:embed/>
                </p:oleObj>
              </mc:Choice>
              <mc:Fallback>
                <p:oleObj name="think-cell 幻灯片" r:id="rId85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Channel Volum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JD (69.0%) was the primary in-border channel. </a:t>
            </a:r>
          </a:p>
          <a:p>
            <a:r>
              <a:rPr lang="en-US" altLang="zh-CN" dirty="0"/>
              <a:t>For Friesland, JD showed importance (70.7%) and decreased by -12.5%.</a:t>
            </a: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C0073801-3E3B-4214-8488-3EEF80B2ECA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2330129" y="1680553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8,16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79BD872D-D8A1-4E0B-91F0-A1EA5388AEC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701686" y="1679764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4,524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39DFEA9A-4868-4726-BE0B-4687929E4AC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479769" y="168604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9,539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B9055A0C-DF21-4D3A-BC9D-BB74455B3F1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848230" y="168604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,85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2A6FAE18-0154-42E2-876B-5D06A83CC64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47443" y="16725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5,818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2CC708AA-7218-4819-8BCF-9228125D2DD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038110" y="168806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E08E8750-478B-4868-8924-5100605BE23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226631" y="169352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33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E80089D5-BCD1-4FC3-9B3C-9FB0C4F700E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579964" y="167976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5,151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文本占位符 8">
            <a:extLst>
              <a:ext uri="{FF2B5EF4-FFF2-40B4-BE49-F238E27FC236}">
                <a16:creationId xmlns:a16="http://schemas.microsoft.com/office/drawing/2014/main" id="{3AFA0599-CE81-422F-8863-2F3453F4B3E6}"/>
              </a:ext>
            </a:extLst>
          </p:cNvPr>
          <p:cNvSpPr txBox="1">
            <a:spLocks/>
          </p:cNvSpPr>
          <p:nvPr/>
        </p:nvSpPr>
        <p:spPr>
          <a:xfrm>
            <a:off x="872076" y="3578638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1" lang="en-US" altLang="zh-CN" sz="900">
                <a:ea typeface="Microsoft YaHei" panose="020B0503020204020204" pitchFamily="34" charset="-122"/>
              </a:rPr>
              <a:t>YoY GR</a:t>
            </a:r>
            <a:r>
              <a:rPr kumimoji="1" lang="en-US" altLang="zh-CN" sz="900" dirty="0">
                <a:ea typeface="Microsoft YaHei" panose="020B0503020204020204" pitchFamily="34" charset="-122"/>
              </a:rPr>
              <a:t>%</a:t>
            </a:r>
            <a:endParaRPr kumimoji="1" lang="zh-CN" altLang="en-US" sz="900" dirty="0">
              <a:ea typeface="Microsoft YaHei" panose="020B0503020204020204" pitchFamily="34" charset="-122"/>
            </a:endParaRPr>
          </a:p>
        </p:txBody>
      </p:sp>
      <p:sp>
        <p:nvSpPr>
          <p:cNvPr id="73" name="文本占位符 8">
            <a:extLst>
              <a:ext uri="{FF2B5EF4-FFF2-40B4-BE49-F238E27FC236}">
                <a16:creationId xmlns:a16="http://schemas.microsoft.com/office/drawing/2014/main" id="{C2261F95-02D6-479B-B537-2C441CC1759B}"/>
              </a:ext>
            </a:extLst>
          </p:cNvPr>
          <p:cNvSpPr txBox="1">
            <a:spLocks/>
          </p:cNvSpPr>
          <p:nvPr/>
        </p:nvSpPr>
        <p:spPr>
          <a:xfrm>
            <a:off x="503238" y="1656763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kumimoji="1" lang="en-US" altLang="zh-CN" sz="1200" b="1" dirty="0">
                <a:ea typeface="Microsoft YaHei" panose="020B0503020204020204" pitchFamily="34" charset="-122"/>
              </a:rPr>
              <a:t>Sales volume (Ton)</a:t>
            </a:r>
            <a:endParaRPr kumimoji="1" lang="zh-CN" altLang="en-US" sz="1200" b="1" dirty="0">
              <a:ea typeface="Microsoft YaHei" panose="020B0503020204020204" pitchFamily="34" charset="-122"/>
            </a:endParaRPr>
          </a:p>
        </p:txBody>
      </p:sp>
      <p:graphicFrame>
        <p:nvGraphicFramePr>
          <p:cNvPr id="247" name="表格 246">
            <a:extLst>
              <a:ext uri="{FF2B5EF4-FFF2-40B4-BE49-F238E27FC236}">
                <a16:creationId xmlns:a16="http://schemas.microsoft.com/office/drawing/2014/main" id="{D5BAA37A-02CC-4DBD-851D-3F233C39AE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2160892"/>
              </p:ext>
            </p:extLst>
          </p:nvPr>
        </p:nvGraphicFramePr>
        <p:xfrm>
          <a:off x="2105536" y="3780788"/>
          <a:ext cx="6705600" cy="581658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50800" dir="5400000" algn="ctr" rotWithShape="0">
                    <a:schemeClr val="bg1">
                      <a:alpha val="0"/>
                    </a:schemeClr>
                  </a:outerShdw>
                </a:effectLst>
                <a:tableStyleId>{5C22544A-7EE6-4342-B048-85BDC9FD1C3A}</a:tableStyleId>
              </a:tblPr>
              <a:tblGrid>
                <a:gridCol w="1117600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2035238712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1938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+5.0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12.5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+20.7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66.4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938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22.2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31.4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5.8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 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85.8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 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938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18.5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22.6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+6.7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 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71.5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 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5234164"/>
                  </a:ext>
                </a:extLst>
              </a:tr>
            </a:tbl>
          </a:graphicData>
        </a:graphic>
      </p:graphicFrame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C92C5154-9839-4762-B527-7CEF21A7C46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73138" y="3827463"/>
            <a:ext cx="1298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8B9CB02-0C87-48D0-8BC7-1BAF55F2CFD7}" type="datetime'''京''''''东''''''''(''''国内''''''''''自营''''''+国内''''''''POP)'">
              <a:rPr lang="zh-CN" altLang="en-US" sz="900" smtClean="0">
                <a:latin typeface="Arial" panose="020B0604020202020204" pitchFamily="34" charset="0"/>
              </a:rPr>
              <a:pPr/>
              <a:t>京东(国内自营+国内POP)</a:t>
            </a:fld>
            <a:endParaRPr lang="zh-CN" altLang="en-US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8" name="矩形 167">
            <a:extLst>
              <a:ext uri="{FF2B5EF4-FFF2-40B4-BE49-F238E27FC236}">
                <a16:creationId xmlns:a16="http://schemas.microsoft.com/office/drawing/2014/main" id="{AE734146-84F4-46D0-A8D9-E7E81FB58AC0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62000" y="3830638"/>
            <a:ext cx="160338" cy="120650"/>
          </a:xfrm>
          <a:prstGeom prst="rect">
            <a:avLst/>
          </a:prstGeom>
          <a:solidFill>
            <a:srgbClr val="C3CFE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9" name="矩形 168">
            <a:extLst>
              <a:ext uri="{FF2B5EF4-FFF2-40B4-BE49-F238E27FC236}">
                <a16:creationId xmlns:a16="http://schemas.microsoft.com/office/drawing/2014/main" id="{4A964EEA-01C6-45D1-A4BE-4D476580EFB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762000" y="4017963"/>
            <a:ext cx="160338" cy="120650"/>
          </a:xfrm>
          <a:prstGeom prst="rect">
            <a:avLst/>
          </a:prstGeom>
          <a:solidFill>
            <a:srgbClr val="6F8DB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0" name="矩形 169">
            <a:extLst>
              <a:ext uri="{FF2B5EF4-FFF2-40B4-BE49-F238E27FC236}">
                <a16:creationId xmlns:a16="http://schemas.microsoft.com/office/drawing/2014/main" id="{977AFDAD-55C6-4D91-8B79-3462721153B5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62000" y="4205288"/>
            <a:ext cx="160338" cy="120650"/>
          </a:xfrm>
          <a:prstGeom prst="rect">
            <a:avLst/>
          </a:prstGeom>
          <a:solidFill>
            <a:srgbClr val="4C6C9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2A259F4A-99E8-4303-951A-DDE9EDBB3E4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73138" y="4014788"/>
            <a:ext cx="12858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06080D6-775C-424A-878D-BDE3B45CA596}" type="datetime'''''''国内天猫''(''''旗''''舰''店''''''+''分销''''店'''''''')'''">
              <a:rPr lang="zh-CN" altLang="en-US" sz="900" smtClean="0">
                <a:latin typeface="Arial" panose="020B0604020202020204" pitchFamily="34" charset="0"/>
              </a:rPr>
              <a:pPr/>
              <a:t>国内天猫(旗舰店+分销店)</a:t>
            </a:fld>
            <a:endParaRPr lang="zh-CN" altLang="en-US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id="{13A15A67-D551-4809-A09C-5B419D97050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73138" y="4202113"/>
            <a:ext cx="457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59D57B2-F23C-4B0C-A7C4-B2C17A480F26}" type="datetime'''''国''''''''内''''''''''猫''''''''''''''''''''超'''''''''''''">
              <a:rPr lang="zh-CN" altLang="en-US" sz="900" smtClean="0">
                <a:latin typeface="Arial" panose="020B0604020202020204" pitchFamily="34" charset="0"/>
              </a:rPr>
              <a:pPr/>
              <a:t>国内猫超</a:t>
            </a:fld>
            <a:endParaRPr lang="zh-CN" altLang="en-US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BB268AA2-7F06-4578-85E6-BF11017D696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655878" y="33226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98444E54-8776-4273-95C0-F8460A98CC9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267699" y="3322638"/>
            <a:ext cx="4678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DFC16EDD-45BB-4582-A565-63713884841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739794" y="33226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03EAD43A-58D4-4084-9FD8-1EDF2264CC0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366855" y="3322638"/>
            <a:ext cx="45076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3D66C173-26ED-42F5-B88E-74B56F2734E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845011" y="33147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963C382B-132B-4324-979D-B4F094AE37D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484625" y="3314700"/>
            <a:ext cx="44282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95F6796D-9DAA-4F8F-84E2-85C7A6F244CB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934844" y="33147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DD3D56A7-1381-400C-9728-5BC8C5A29A97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561905" y="33147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F290B57D-13B9-4A46-93D4-7F05DF5DCB6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027019" y="33226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B383CD6A-F3A7-4833-85B7-232C1C2D828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654081" y="3322638"/>
            <a:ext cx="463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EBFA126B-27F0-46DE-86B0-FAF649CD6F8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131198" y="33280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DE9FD96C-C01F-4E96-9201-04181FF8A39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758259" y="3328038"/>
            <a:ext cx="4484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D4818CEA-8B55-423F-873C-6E235559BD8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367598" y="2289493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2.7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D03B85CA-97B3-4E65-92C2-564E0CB6283D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2367598" y="2873852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3.6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F67B4086-0164-4401-8F30-1E8B0C367129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367598" y="3140800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3.7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ACB4687B-3526-4937-A902-629413E5F4C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736025" y="2351142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9.0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E26F60A1-0027-4876-97CC-087B1FDBEA97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2728405" y="2935501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9.3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2" name="Text Placeholder 2">
            <a:extLst>
              <a:ext uri="{FF2B5EF4-FFF2-40B4-BE49-F238E27FC236}">
                <a16:creationId xmlns:a16="http://schemas.microsoft.com/office/drawing/2014/main" id="{1899D9F6-848A-4C9A-A515-BAE983A3EAA3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728405" y="3149109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7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D80A9F50-294B-494D-BB9C-FE0BC73DFB5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456799" y="2296106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6.5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C89886C1-C2EC-483E-88BA-BAEF1ECE618D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3463523" y="2919913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1.0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8E9911DB-A58D-43DE-9ADE-D838EA1BCC7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3463523" y="3146517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2.5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68B396D8-7A3E-4681-8F78-EF6FA31A0C8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3825226" y="2342515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70.7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7" name="Text Placeholder 2">
            <a:extLst>
              <a:ext uri="{FF2B5EF4-FFF2-40B4-BE49-F238E27FC236}">
                <a16:creationId xmlns:a16="http://schemas.microsoft.com/office/drawing/2014/main" id="{A63F6144-1F3E-4B15-B5B0-EFCEC2EC74AD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3825226" y="2957354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7.5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463062BD-CBC2-4115-B2AB-D4E7E58B53CD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3825226" y="3148102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8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446E4927-285E-4A8E-8468-4907B658F888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556047" y="2288963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5.2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D663B695-61D8-45E4-BD4D-BF3C48DDAA61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562771" y="2928010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3.0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5FDA1E70-9ACC-4013-88C6-A69A1A73E832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556047" y="3147890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8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2" name="Text Placeholder 2">
            <a:extLst>
              <a:ext uri="{FF2B5EF4-FFF2-40B4-BE49-F238E27FC236}">
                <a16:creationId xmlns:a16="http://schemas.microsoft.com/office/drawing/2014/main" id="{0D894B85-0881-4DD2-B2E3-11522D584638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4924474" y="2350612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9.7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344A05F6-10A2-4BAA-B259-A9209054098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924474" y="2942591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9.1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646683F2-F151-432A-B8AA-44F44E03B05A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4924474" y="3148579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31BB1985-8975-4F3F-8CC3-CDCEACE5E788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6023708" y="2226473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52.0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8CBD0CA1-BF21-4847-BB77-69C5708EFA6E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6023708" y="2826072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40.3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4F9C71C3-C89B-4D64-8912-FAAFA74C54EB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6023708" y="3169220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7.7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48AAB10F-8660-47B8-A562-5FC0F272E7B7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6750831" y="2320675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8.0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ABE31B84-EF77-4F45-8374-EE26C8B9EE79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6750831" y="2912654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8.6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F1E7AA85-0E02-4AF2-BC64-BED79DC886D8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6750831" y="3141502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3.4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A6F01860-F491-4520-8EC2-B18B59DE0252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7119258" y="2389944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78.0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5" name="Text Placeholder 2">
            <a:extLst>
              <a:ext uri="{FF2B5EF4-FFF2-40B4-BE49-F238E27FC236}">
                <a16:creationId xmlns:a16="http://schemas.microsoft.com/office/drawing/2014/main" id="{46581ED2-C15D-4C69-BEFC-E73B2BBA7A00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7119258" y="2997163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9.0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6" name="Text Placeholder 2">
            <a:extLst>
              <a:ext uri="{FF2B5EF4-FFF2-40B4-BE49-F238E27FC236}">
                <a16:creationId xmlns:a16="http://schemas.microsoft.com/office/drawing/2014/main" id="{01F797F1-B847-4B62-A6AE-5CB87D11173E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7119258" y="3149811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3.0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7" name="Text Placeholder 2">
            <a:extLst>
              <a:ext uri="{FF2B5EF4-FFF2-40B4-BE49-F238E27FC236}">
                <a16:creationId xmlns:a16="http://schemas.microsoft.com/office/drawing/2014/main" id="{2280D719-A558-4C97-A70D-483D7A5B0931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8213374" y="2892909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8.6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8" name="Text Placeholder 2">
            <a:extLst>
              <a:ext uri="{FF2B5EF4-FFF2-40B4-BE49-F238E27FC236}">
                <a16:creationId xmlns:a16="http://schemas.microsoft.com/office/drawing/2014/main" id="{DFB53203-D05F-45DE-A55F-9CC2EFE10935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8213374" y="3130475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4.8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FE25FEF4-36CE-4672-B17D-06579FE27070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6770511" y="1677992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4,388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5A4CAE6B-16B3-402D-94B9-6A2B29BAA6A3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7137990" y="16725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1,285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239" name="表格 238">
            <a:extLst>
              <a:ext uri="{FF2B5EF4-FFF2-40B4-BE49-F238E27FC236}">
                <a16:creationId xmlns:a16="http://schemas.microsoft.com/office/drawing/2014/main" id="{EE60F833-C8E1-4E87-86DE-0A5DAF8E3C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3520288"/>
              </p:ext>
            </p:extLst>
          </p:nvPr>
        </p:nvGraphicFramePr>
        <p:xfrm>
          <a:off x="2135080" y="1231021"/>
          <a:ext cx="659878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9798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0012253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（旺玥）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金装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源悦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cxnSp>
        <p:nvCxnSpPr>
          <p:cNvPr id="243" name="直接连接符 242">
            <a:extLst>
              <a:ext uri="{FF2B5EF4-FFF2-40B4-BE49-F238E27FC236}">
                <a16:creationId xmlns:a16="http://schemas.microsoft.com/office/drawing/2014/main" id="{BF65BA5C-CE4D-4CB5-B6D7-ADB9ECAA3329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5951944" y="2975486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直接连接符 251">
            <a:extLst>
              <a:ext uri="{FF2B5EF4-FFF2-40B4-BE49-F238E27FC236}">
                <a16:creationId xmlns:a16="http://schemas.microsoft.com/office/drawing/2014/main" id="{AE17F883-FAD9-448C-BC1C-454D7248BB0B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5890031" y="3097723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4" name="直接连接符 253">
            <a:extLst>
              <a:ext uri="{FF2B5EF4-FFF2-40B4-BE49-F238E27FC236}">
                <a16:creationId xmlns:a16="http://schemas.microsoft.com/office/drawing/2014/main" id="{2A45B1CE-2F88-4C5D-A148-DEF2DE6129D5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5828119" y="3280286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0" name="直接连接符 259">
            <a:extLst>
              <a:ext uri="{FF2B5EF4-FFF2-40B4-BE49-F238E27FC236}">
                <a16:creationId xmlns:a16="http://schemas.microsoft.com/office/drawing/2014/main" id="{A0A632C5-0514-4156-B448-00375EB9CA76}"/>
              </a:ext>
            </a:extLst>
          </p:cNvPr>
          <p:cNvCxnSpPr>
            <a:cxnSpLocks/>
          </p:cNvCxnSpPr>
          <p:nvPr>
            <p:custDataLst>
              <p:tags r:id="rId63"/>
            </p:custDataLst>
          </p:nvPr>
        </p:nvCxnSpPr>
        <p:spPr bwMode="auto">
          <a:xfrm>
            <a:off x="5874156" y="2975486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1" name="直接连接符 260">
            <a:extLst>
              <a:ext uri="{FF2B5EF4-FFF2-40B4-BE49-F238E27FC236}">
                <a16:creationId xmlns:a16="http://schemas.microsoft.com/office/drawing/2014/main" id="{B4F6E41D-3C8B-4BDA-B981-1E0707FBDC51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5951944" y="2975486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4" name="直接连接符 263">
            <a:extLst>
              <a:ext uri="{FF2B5EF4-FFF2-40B4-BE49-F238E27FC236}">
                <a16:creationId xmlns:a16="http://schemas.microsoft.com/office/drawing/2014/main" id="{C0FD02BC-6A21-49D8-AFD3-51BC598DB679}"/>
              </a:ext>
            </a:extLst>
          </p:cNvPr>
          <p:cNvCxnSpPr>
            <a:cxnSpLocks/>
          </p:cNvCxnSpPr>
          <p:nvPr>
            <p:custDataLst>
              <p:tags r:id="rId65"/>
            </p:custDataLst>
          </p:nvPr>
        </p:nvCxnSpPr>
        <p:spPr bwMode="auto">
          <a:xfrm>
            <a:off x="5874156" y="3097723"/>
            <a:ext cx="158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7" name="直接连接符 266">
            <a:extLst>
              <a:ext uri="{FF2B5EF4-FFF2-40B4-BE49-F238E27FC236}">
                <a16:creationId xmlns:a16="http://schemas.microsoft.com/office/drawing/2014/main" id="{FC2C3652-FB69-4AB9-8C3B-AFB04967299C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5890031" y="3097723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8" name="直接连接符 267">
            <a:extLst>
              <a:ext uri="{FF2B5EF4-FFF2-40B4-BE49-F238E27FC236}">
                <a16:creationId xmlns:a16="http://schemas.microsoft.com/office/drawing/2014/main" id="{7B9E6214-1B81-4E84-8C23-86A82606DFDE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5828119" y="3280286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67BB9729-EBE9-4EC8-9D61-99E8F2FF3703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5612219" y="2913573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79AD5DA2-80DA-4E3D-910E-4501708EDB14}" type="datetime'''''''''''''''''''''''''''0''''''''.''0''''''''%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0" name="Text Placeholder 2">
            <a:extLst>
              <a:ext uri="{FF2B5EF4-FFF2-40B4-BE49-F238E27FC236}">
                <a16:creationId xmlns:a16="http://schemas.microsoft.com/office/drawing/2014/main" id="{D67319D7-AD27-482D-85AB-8A90DC7254D0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5612219" y="3035811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EE07360-5956-490B-80B7-81240F7C2BB1}" type="datetime'''''''''''''''''''''''''''''0.''0''''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1" name="Text Placeholder 2">
            <a:extLst>
              <a:ext uri="{FF2B5EF4-FFF2-40B4-BE49-F238E27FC236}">
                <a16:creationId xmlns:a16="http://schemas.microsoft.com/office/drawing/2014/main" id="{34D1DD8D-151B-4B6F-A6CA-19EAC9AB506D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5612219" y="3158048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82A6D498-85FF-4CDF-BCCF-BA96416AC12F}" type="datetime'''''''''0''''''.''''''''''''''''0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72" name="直接连接符 271">
            <a:extLst>
              <a:ext uri="{FF2B5EF4-FFF2-40B4-BE49-F238E27FC236}">
                <a16:creationId xmlns:a16="http://schemas.microsoft.com/office/drawing/2014/main" id="{BF200CD6-6099-4BED-B48B-4C82462E1DDD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8127150" y="2970138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3" name="直接连接符 272">
            <a:extLst>
              <a:ext uri="{FF2B5EF4-FFF2-40B4-BE49-F238E27FC236}">
                <a16:creationId xmlns:a16="http://schemas.microsoft.com/office/drawing/2014/main" id="{83A78729-BBA4-4739-A318-446FBBDCE64A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8065237" y="3092375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4" name="直接连接符 273">
            <a:extLst>
              <a:ext uri="{FF2B5EF4-FFF2-40B4-BE49-F238E27FC236}">
                <a16:creationId xmlns:a16="http://schemas.microsoft.com/office/drawing/2014/main" id="{1AAE70E2-AA3D-4CEB-9697-1595F7C50146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8003325" y="327493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5" name="直接连接符 274">
            <a:extLst>
              <a:ext uri="{FF2B5EF4-FFF2-40B4-BE49-F238E27FC236}">
                <a16:creationId xmlns:a16="http://schemas.microsoft.com/office/drawing/2014/main" id="{744344D7-0B55-46E8-9C5B-81E8D75F1D8F}"/>
              </a:ext>
            </a:extLst>
          </p:cNvPr>
          <p:cNvCxnSpPr>
            <a:cxnSpLocks/>
          </p:cNvCxnSpPr>
          <p:nvPr>
            <p:custDataLst>
              <p:tags r:id="rId74"/>
            </p:custDataLst>
          </p:nvPr>
        </p:nvCxnSpPr>
        <p:spPr bwMode="auto">
          <a:xfrm>
            <a:off x="8049362" y="2970138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6" name="直接连接符 275">
            <a:extLst>
              <a:ext uri="{FF2B5EF4-FFF2-40B4-BE49-F238E27FC236}">
                <a16:creationId xmlns:a16="http://schemas.microsoft.com/office/drawing/2014/main" id="{491C2F75-8155-4D0F-9CDA-3DA30BBFA753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8127150" y="2970138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7" name="直接连接符 276">
            <a:extLst>
              <a:ext uri="{FF2B5EF4-FFF2-40B4-BE49-F238E27FC236}">
                <a16:creationId xmlns:a16="http://schemas.microsoft.com/office/drawing/2014/main" id="{17353C7C-F982-4E9E-9387-F7330CFE5687}"/>
              </a:ext>
            </a:extLst>
          </p:cNvPr>
          <p:cNvCxnSpPr>
            <a:cxnSpLocks/>
          </p:cNvCxnSpPr>
          <p:nvPr>
            <p:custDataLst>
              <p:tags r:id="rId76"/>
            </p:custDataLst>
          </p:nvPr>
        </p:nvCxnSpPr>
        <p:spPr bwMode="auto">
          <a:xfrm>
            <a:off x="8049362" y="3092375"/>
            <a:ext cx="158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8" name="直接连接符 277">
            <a:extLst>
              <a:ext uri="{FF2B5EF4-FFF2-40B4-BE49-F238E27FC236}">
                <a16:creationId xmlns:a16="http://schemas.microsoft.com/office/drawing/2014/main" id="{5C33D133-DF55-4870-A497-7734251D920E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8065237" y="3092375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9" name="直接连接符 278">
            <a:extLst>
              <a:ext uri="{FF2B5EF4-FFF2-40B4-BE49-F238E27FC236}">
                <a16:creationId xmlns:a16="http://schemas.microsoft.com/office/drawing/2014/main" id="{8D8ABF5E-DC89-48C1-A64F-B7C06B5CF8AF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8003325" y="327493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23F9C3E3-53B7-4B4F-9078-40A99C9D3C7A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7787425" y="2908225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79AD5DA2-80DA-4E3D-910E-4501708EDB14}" type="datetime'''''''''''''''''''''''''''0''''''''.''0''''''''%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D2CF006B-5486-45B9-A9D9-300E16A386D4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7787425" y="3030463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EE07360-5956-490B-80B7-81240F7C2BB1}" type="datetime'''''''''''''''''''''''''''''0.''0''''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D62CC839-39F0-4A9F-BEB3-C0E6DA2A0E2E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7787425" y="3152700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82A6D498-85FF-4CDF-BCCF-BA96416AC12F}" type="datetime'''''''''0''''''.''''''''''''''''0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A126E5C2-6F1D-40BF-BBA3-DA9C9DFD7984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8214783" y="2328666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6.6%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7414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9941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86" name="think-cell 幻灯片" r:id="rId8" imgW="499" imgH="508" progId="TCLayout.ActiveDocument.1">
                  <p:embed/>
                </p:oleObj>
              </mc:Choice>
              <mc:Fallback>
                <p:oleObj name="think-cell 幻灯片" r:id="rId8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1" name="表格 240">
            <a:extLst>
              <a:ext uri="{FF2B5EF4-FFF2-40B4-BE49-F238E27FC236}">
                <a16:creationId xmlns:a16="http://schemas.microsoft.com/office/drawing/2014/main" id="{C1F70740-334A-442C-8F85-EBDBCBDA4D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7388849"/>
              </p:ext>
            </p:extLst>
          </p:nvPr>
        </p:nvGraphicFramePr>
        <p:xfrm>
          <a:off x="1379696" y="1188879"/>
          <a:ext cx="134112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41120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Price Tier Valu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SP [290,390) showed importance (36.2%) and downtrend in Avg Price.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C4091A-B98D-41CB-BAD1-D9670E18E56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074919" y="4175125"/>
            <a:ext cx="7239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50" b="1" dirty="0">
                <a:solidFill>
                  <a:prstClr val="black"/>
                </a:solidFill>
                <a:latin typeface="Arial" panose="020B0604020202020204" pitchFamily="34" charset="0"/>
              </a:rPr>
              <a:t>MAT Oct22</a:t>
            </a:r>
            <a:endParaRPr lang="zh-CN" altLang="en-US" sz="105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80372571-4042-4CCE-9589-C1093DD8834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301692" y="4175125"/>
            <a:ext cx="7239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50" b="1" dirty="0">
                <a:solidFill>
                  <a:prstClr val="black"/>
                </a:solidFill>
                <a:latin typeface="Arial" panose="020B0604020202020204" pitchFamily="34" charset="0"/>
              </a:rPr>
              <a:t>MAT Oct23</a:t>
            </a:r>
            <a:endParaRPr lang="zh-CN" altLang="en-US" sz="105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C0073801-3E3B-4214-8488-3EEF80B2ECA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281998" y="1689100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2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1,919</a:t>
            </a:r>
            <a:endParaRPr lang="zh-CN" altLang="en-US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79BD872D-D8A1-4E0B-91F0-A1EA5388AEC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493780" y="1689100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2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1,075</a:t>
            </a:r>
            <a:endParaRPr lang="zh-CN" altLang="en-US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78" name="表格 177">
            <a:extLst>
              <a:ext uri="{FF2B5EF4-FFF2-40B4-BE49-F238E27FC236}">
                <a16:creationId xmlns:a16="http://schemas.microsoft.com/office/drawing/2014/main" id="{3F574E4C-0E33-4B17-A94D-4A02BD690B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5740126"/>
              </p:ext>
            </p:extLst>
          </p:nvPr>
        </p:nvGraphicFramePr>
        <p:xfrm>
          <a:off x="4457700" y="2041134"/>
          <a:ext cx="4270034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7010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331512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331512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</a:tblGrid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Avg Price / KG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微软雅黑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MAT Oct2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MAT Oct2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902199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其他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微软雅黑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UP &gt;= 390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454.2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450.0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P [290,390)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340.1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333.1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683293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P [210,290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微软雅黑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246.7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251.0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218324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M &lt; 210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149.1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150.8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8969387"/>
                  </a:ext>
                </a:extLst>
              </a:tr>
            </a:tbl>
          </a:graphicData>
        </a:graphic>
      </p:graphicFrame>
      <p:graphicFrame>
        <p:nvGraphicFramePr>
          <p:cNvPr id="13" name="图表 12">
            <a:extLst>
              <a:ext uri="{FF2B5EF4-FFF2-40B4-BE49-F238E27FC236}">
                <a16:creationId xmlns:a16="http://schemas.microsoft.com/office/drawing/2014/main" id="{4EBB3BBA-7894-44A9-8886-EB0EF05900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30247033"/>
              </p:ext>
            </p:extLst>
          </p:nvPr>
        </p:nvGraphicFramePr>
        <p:xfrm>
          <a:off x="801687" y="1761094"/>
          <a:ext cx="2497137" cy="2457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3" name="矩形 22">
            <a:extLst>
              <a:ext uri="{FF2B5EF4-FFF2-40B4-BE49-F238E27FC236}">
                <a16:creationId xmlns:a16="http://schemas.microsoft.com/office/drawing/2014/main" id="{FD22BDBB-BD8C-44FD-AD38-28954F171C86}"/>
              </a:ext>
            </a:extLst>
          </p:cNvPr>
          <p:cNvSpPr/>
          <p:nvPr/>
        </p:nvSpPr>
        <p:spPr>
          <a:xfrm>
            <a:off x="4106062" y="3646129"/>
            <a:ext cx="283172" cy="160413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FAB80FFA-7776-41F7-8663-1CE25E30970A}"/>
              </a:ext>
            </a:extLst>
          </p:cNvPr>
          <p:cNvSpPr/>
          <p:nvPr/>
        </p:nvSpPr>
        <p:spPr>
          <a:xfrm>
            <a:off x="4106062" y="3341665"/>
            <a:ext cx="283172" cy="160413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0A2F7448-0753-44A4-A950-F1E10D181A37}"/>
              </a:ext>
            </a:extLst>
          </p:cNvPr>
          <p:cNvSpPr/>
          <p:nvPr/>
        </p:nvSpPr>
        <p:spPr>
          <a:xfrm>
            <a:off x="4106062" y="3020424"/>
            <a:ext cx="283172" cy="160413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B3C81BD4-D7D1-4A91-A907-B67631C79778}"/>
              </a:ext>
            </a:extLst>
          </p:cNvPr>
          <p:cNvSpPr/>
          <p:nvPr/>
        </p:nvSpPr>
        <p:spPr>
          <a:xfrm>
            <a:off x="4106062" y="2724350"/>
            <a:ext cx="283172" cy="160413"/>
          </a:xfrm>
          <a:prstGeom prst="rect">
            <a:avLst/>
          </a:prstGeom>
          <a:solidFill>
            <a:srgbClr val="8064A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BDF84831-4D79-4986-962A-78045D84C59D}"/>
              </a:ext>
            </a:extLst>
          </p:cNvPr>
          <p:cNvSpPr/>
          <p:nvPr/>
        </p:nvSpPr>
        <p:spPr>
          <a:xfrm>
            <a:off x="4106062" y="2428276"/>
            <a:ext cx="283172" cy="160413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文本占位符 8">
            <a:extLst>
              <a:ext uri="{FF2B5EF4-FFF2-40B4-BE49-F238E27FC236}">
                <a16:creationId xmlns:a16="http://schemas.microsoft.com/office/drawing/2014/main" id="{8DB8A994-B218-4706-BDD7-2ADD1FEBA5A7}"/>
              </a:ext>
            </a:extLst>
          </p:cNvPr>
          <p:cNvSpPr txBox="1">
            <a:spLocks/>
          </p:cNvSpPr>
          <p:nvPr/>
        </p:nvSpPr>
        <p:spPr>
          <a:xfrm>
            <a:off x="251143" y="1563100"/>
            <a:ext cx="876458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kumimoji="1" lang="en-US" altLang="zh-CN" sz="1200" b="1" dirty="0">
                <a:ea typeface="Microsoft YaHei" panose="020B0503020204020204" pitchFamily="34" charset="-122"/>
              </a:rPr>
              <a:t>Sales value M</a:t>
            </a:r>
            <a:endParaRPr kumimoji="1" lang="zh-CN" altLang="en-US" sz="1200" b="1" dirty="0"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515221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43" name="think-cell 幻灯片" r:id="rId28" imgW="499" imgH="508" progId="TCLayout.ActiveDocument.1">
                  <p:embed/>
                </p:oleObj>
              </mc:Choice>
              <mc:Fallback>
                <p:oleObj name="think-cell 幻灯片" r:id="rId28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Price Tier Valu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Friesland increased by +78.0% in SP and +8.1% in UP. </a:t>
            </a: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29C30D03-4B84-48E6-ABC3-79170D8DCA2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976619" y="2901634"/>
            <a:ext cx="95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altLang="zh-CN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思源黑体 CN Regular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57C59A09-9EC6-4D57-A0C6-0AC9081A35C9}" type="datetime'''''''''''''''''''''''''''''''''''''''''''''''''''''''0'">
              <a:rPr kumimoji="0" lang="zh-CN" altLang="en-US" sz="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思源黑体 CN Regular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</a:t>
            </a:fld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思源黑体 CN Regular"/>
                <a:cs typeface="+mn-cs"/>
              </a:rPr>
              <a:t>.00</a:t>
            </a:r>
            <a:endParaRPr kumimoji="0" lang="zh-CN" alt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思源黑体 CN Regular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2" name="文本占位符 8">
            <a:extLst>
              <a:ext uri="{FF2B5EF4-FFF2-40B4-BE49-F238E27FC236}">
                <a16:creationId xmlns:a16="http://schemas.microsoft.com/office/drawing/2014/main" id="{EFDD9A42-70AB-4305-88E1-4A082FBC8CB1}"/>
              </a:ext>
            </a:extLst>
          </p:cNvPr>
          <p:cNvSpPr txBox="1">
            <a:spLocks/>
          </p:cNvSpPr>
          <p:nvPr/>
        </p:nvSpPr>
        <p:spPr>
          <a:xfrm>
            <a:off x="503238" y="1618663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Sales value M</a:t>
            </a:r>
            <a:endParaRPr kumimoji="1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Microsoft YaHei" panose="020B0503020204020204" pitchFamily="34" charset="-122"/>
              <a:cs typeface="+mn-cs"/>
            </a:endParaRPr>
          </a:p>
        </p:txBody>
      </p:sp>
      <p:graphicFrame>
        <p:nvGraphicFramePr>
          <p:cNvPr id="178" name="表格 177">
            <a:extLst>
              <a:ext uri="{FF2B5EF4-FFF2-40B4-BE49-F238E27FC236}">
                <a16:creationId xmlns:a16="http://schemas.microsoft.com/office/drawing/2014/main" id="{3F574E4C-0E33-4B17-A94D-4A02BD690B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2221801"/>
              </p:ext>
            </p:extLst>
          </p:nvPr>
        </p:nvGraphicFramePr>
        <p:xfrm>
          <a:off x="1219199" y="3560428"/>
          <a:ext cx="7578771" cy="889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3549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606427112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3592978449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491142853"/>
                    </a:ext>
                  </a:extLst>
                </a:gridCol>
              </a:tblGrid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其他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UP &gt;= 39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2.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8.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8.9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92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P [290,390)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0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78.0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54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92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683293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P [210,290)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3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2.3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62.0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58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218324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M &lt; 2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6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5.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98.5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71.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8969387"/>
                  </a:ext>
                </a:extLst>
              </a:tr>
            </a:tbl>
          </a:graphicData>
        </a:graphic>
      </p:graphicFrame>
      <p:sp>
        <p:nvSpPr>
          <p:cNvPr id="54" name="文本占位符 8">
            <a:extLst>
              <a:ext uri="{FF2B5EF4-FFF2-40B4-BE49-F238E27FC236}">
                <a16:creationId xmlns:a16="http://schemas.microsoft.com/office/drawing/2014/main" id="{672B285F-E340-4657-BB21-1EFD5C20C31C}"/>
              </a:ext>
            </a:extLst>
          </p:cNvPr>
          <p:cNvSpPr txBox="1">
            <a:spLocks/>
          </p:cNvSpPr>
          <p:nvPr/>
        </p:nvSpPr>
        <p:spPr>
          <a:xfrm>
            <a:off x="1115916" y="3380518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YoY GR%</a:t>
            </a:r>
            <a:endParaRPr kumimoji="1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289069BF-1982-47ED-AF95-9300E648C2BF}"/>
              </a:ext>
            </a:extLst>
          </p:cNvPr>
          <p:cNvSpPr/>
          <p:nvPr/>
        </p:nvSpPr>
        <p:spPr>
          <a:xfrm>
            <a:off x="975249" y="4324105"/>
            <a:ext cx="178767" cy="101269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8FDD0844-D26E-4402-9A65-E8E16387CCE2}"/>
              </a:ext>
            </a:extLst>
          </p:cNvPr>
          <p:cNvSpPr/>
          <p:nvPr/>
        </p:nvSpPr>
        <p:spPr>
          <a:xfrm>
            <a:off x="975249" y="4146414"/>
            <a:ext cx="178767" cy="101269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F7FC3143-9936-43F4-8C75-676DBC9D29FA}"/>
              </a:ext>
            </a:extLst>
          </p:cNvPr>
          <p:cNvSpPr/>
          <p:nvPr/>
        </p:nvSpPr>
        <p:spPr>
          <a:xfrm>
            <a:off x="975249" y="3968723"/>
            <a:ext cx="178767" cy="101269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46EAA4D8-441E-4A1D-ADF4-4F06F10803BB}"/>
              </a:ext>
            </a:extLst>
          </p:cNvPr>
          <p:cNvSpPr/>
          <p:nvPr/>
        </p:nvSpPr>
        <p:spPr>
          <a:xfrm>
            <a:off x="975249" y="3791032"/>
            <a:ext cx="178767" cy="101269"/>
          </a:xfrm>
          <a:prstGeom prst="rect">
            <a:avLst/>
          </a:prstGeom>
          <a:solidFill>
            <a:srgbClr val="8064A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E54006F2-67A2-4FFB-8FB6-9427615BB99E}"/>
              </a:ext>
            </a:extLst>
          </p:cNvPr>
          <p:cNvSpPr/>
          <p:nvPr/>
        </p:nvSpPr>
        <p:spPr>
          <a:xfrm>
            <a:off x="975249" y="3613341"/>
            <a:ext cx="178767" cy="101269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4EC9F72-81F3-45BF-A42C-2DAAD49EC9C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337749" y="163522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1,919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F37DDF95-352E-4E15-AD6B-D2A36CD5D0A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709306" y="1642056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1,075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F2ACC8D7-B2BF-440F-B01D-E99E9DFD10B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479769" y="163266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,148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264B23A9-3907-47AF-9807-ED5BD09E798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855850" y="16329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,04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34EEC26-8780-4C90-BA26-4D00AE7D1F6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55063" y="162720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,595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B029A209-0D94-456C-9169-4D715F644C7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693522" y="2854319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0.0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1F9EC181-EFC5-4D31-B03C-CA1BC4BCC83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069603" y="16352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5B2FFCCF-3AE2-4089-8A68-95771FC35C9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259598" y="163305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18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C5D29101-D4B9-4155-B583-C5937CEF34A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587584" y="16344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,334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C3740B7-7782-4EA6-B9B8-39833737AD5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800314" y="162535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815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CFEA2758-3660-4CBD-BB5D-AD47BB177D2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166691" y="161973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53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43C83D39-B980-4CCA-A3B7-C501DD9DCAC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659184" y="31359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87C0A603-848B-4254-B18D-651DD7D0D19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284453" y="3135900"/>
            <a:ext cx="4678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C183DD75-6385-41E3-9E70-8596893E25E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769100" y="31359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1F845F77-AF6C-4D6F-B6AB-6B6B9E40AAA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403781" y="3135900"/>
            <a:ext cx="45076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5C756BE1-2987-46F9-98D1-79C8CF35276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881041" y="31279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4B69BFB3-1942-4EF0-85D7-CDF9122E6D9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508103" y="3127962"/>
            <a:ext cx="44282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604C01ED-DC96-43EC-9531-00F65C3C2E0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970874" y="31279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A1A0EBE4-381E-45CD-AEA3-F636086FF0C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590315" y="31279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B7610502-49D4-4E1B-B6BD-06E1B9284A6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085909" y="31359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D876E7E0-9FCA-426F-B23D-4F59EFF085A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697731" y="3135900"/>
            <a:ext cx="463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42BCF2C8-93A4-4F68-A534-C2976E7BEE8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182468" y="31413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C1872556-8EBE-467A-A46D-C61C63A892E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801909" y="3141300"/>
            <a:ext cx="4484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8" name="表格 77">
            <a:extLst>
              <a:ext uri="{FF2B5EF4-FFF2-40B4-BE49-F238E27FC236}">
                <a16:creationId xmlns:a16="http://schemas.microsoft.com/office/drawing/2014/main" id="{8B8FC972-751D-4418-8780-D729994FBD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0239128"/>
              </p:ext>
            </p:extLst>
          </p:nvPr>
        </p:nvGraphicFramePr>
        <p:xfrm>
          <a:off x="2157940" y="1231021"/>
          <a:ext cx="659878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9798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0012253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（旺玥）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金装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源悦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graphicFrame>
        <p:nvGraphicFramePr>
          <p:cNvPr id="46" name="图表 45">
            <a:extLst>
              <a:ext uri="{FF2B5EF4-FFF2-40B4-BE49-F238E27FC236}">
                <a16:creationId xmlns:a16="http://schemas.microsoft.com/office/drawing/2014/main" id="{789F2CB5-D2FE-486E-8582-3015486531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6913693"/>
              </p:ext>
            </p:extLst>
          </p:nvPr>
        </p:nvGraphicFramePr>
        <p:xfrm>
          <a:off x="2249764" y="1763209"/>
          <a:ext cx="6411912" cy="1364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</p:spTree>
    <p:extLst>
      <p:ext uri="{BB962C8B-B14F-4D97-AF65-F5344CB8AC3E}">
        <p14:creationId xmlns:p14="http://schemas.microsoft.com/office/powerpoint/2010/main" val="22232047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66" name="think-cell 幻灯片" r:id="rId28" imgW="499" imgH="508" progId="TCLayout.ActiveDocument.1">
                  <p:embed/>
                </p:oleObj>
              </mc:Choice>
              <mc:Fallback>
                <p:oleObj name="think-cell 幻灯片" r:id="rId28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205980"/>
            <a:ext cx="7527925" cy="386158"/>
          </a:xfrm>
        </p:spPr>
        <p:txBody>
          <a:bodyPr vert="horz">
            <a:normAutofit fontScale="90000"/>
          </a:bodyPr>
          <a:lstStyle/>
          <a:p>
            <a:r>
              <a:rPr kumimoji="1" lang="en-US" altLang="zh-CN" kern="220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Price Tier Volum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Friesland reported positive growth as +78.0% in SP and +10.7% in UP. </a:t>
            </a: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29C30D03-4B84-48E6-ABC3-79170D8DCA2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954645" y="2929182"/>
            <a:ext cx="95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D2EE07FE-1E7E-42AC-88FB-7C937175F982}" type="datetime'''''''''''''''''''''''''''''''''''''''''''''0'''''''''">
              <a:rPr kumimoji="0" lang="zh-CN" altLang="en-US" sz="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思源黑体 CN Regular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</a:t>
            </a:fld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思源黑体 CN Regular"/>
                <a:cs typeface="+mn-cs"/>
              </a:rPr>
              <a:t>.00</a:t>
            </a:r>
            <a:endParaRPr kumimoji="0" lang="zh-CN" alt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思源黑体 CN Regular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" name="文本占位符 8">
            <a:extLst>
              <a:ext uri="{FF2B5EF4-FFF2-40B4-BE49-F238E27FC236}">
                <a16:creationId xmlns:a16="http://schemas.microsoft.com/office/drawing/2014/main" id="{20FA1FB9-F9D4-40B5-A9CF-E17BEFB905D1}"/>
              </a:ext>
            </a:extLst>
          </p:cNvPr>
          <p:cNvSpPr txBox="1">
            <a:spLocks/>
          </p:cNvSpPr>
          <p:nvPr/>
        </p:nvSpPr>
        <p:spPr>
          <a:xfrm>
            <a:off x="503238" y="1618663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Sales volume ton</a:t>
            </a:r>
            <a:endParaRPr kumimoji="1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Microsoft YaHei" panose="020B0503020204020204" pitchFamily="34" charset="-122"/>
              <a:cs typeface="+mn-cs"/>
            </a:endParaRPr>
          </a:p>
        </p:txBody>
      </p:sp>
      <p:graphicFrame>
        <p:nvGraphicFramePr>
          <p:cNvPr id="37" name="表格 36">
            <a:extLst>
              <a:ext uri="{FF2B5EF4-FFF2-40B4-BE49-F238E27FC236}">
                <a16:creationId xmlns:a16="http://schemas.microsoft.com/office/drawing/2014/main" id="{A91EA9F2-DD07-4B60-B2A2-950D3B2ED9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1026602"/>
              </p:ext>
            </p:extLst>
          </p:nvPr>
        </p:nvGraphicFramePr>
        <p:xfrm>
          <a:off x="1219199" y="3560428"/>
          <a:ext cx="7578771" cy="889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3549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606427112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103436259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491142853"/>
                    </a:ext>
                  </a:extLst>
                </a:gridCol>
              </a:tblGrid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其他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UP &gt;= 39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1.3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0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0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21.8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P [290,390)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2.3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78.0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52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92.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683293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P [210,290)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1.8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56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57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218324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M &lt; 2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7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8.5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6.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73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8969387"/>
                  </a:ext>
                </a:extLst>
              </a:tr>
            </a:tbl>
          </a:graphicData>
        </a:graphic>
      </p:graphicFrame>
      <p:sp>
        <p:nvSpPr>
          <p:cNvPr id="45" name="文本占位符 8">
            <a:extLst>
              <a:ext uri="{FF2B5EF4-FFF2-40B4-BE49-F238E27FC236}">
                <a16:creationId xmlns:a16="http://schemas.microsoft.com/office/drawing/2014/main" id="{BC70194A-5C02-4127-9432-9C697CF0F435}"/>
              </a:ext>
            </a:extLst>
          </p:cNvPr>
          <p:cNvSpPr txBox="1">
            <a:spLocks/>
          </p:cNvSpPr>
          <p:nvPr/>
        </p:nvSpPr>
        <p:spPr>
          <a:xfrm>
            <a:off x="1115916" y="3380518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YoY GR%</a:t>
            </a:r>
            <a:endParaRPr kumimoji="1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EE2A7F76-5A55-4AFB-A637-B8A5662CC284}"/>
              </a:ext>
            </a:extLst>
          </p:cNvPr>
          <p:cNvSpPr/>
          <p:nvPr/>
        </p:nvSpPr>
        <p:spPr>
          <a:xfrm>
            <a:off x="975249" y="4324105"/>
            <a:ext cx="178767" cy="101269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9E8F0411-2FA7-4F78-802E-3E861A22A7D3}"/>
              </a:ext>
            </a:extLst>
          </p:cNvPr>
          <p:cNvSpPr/>
          <p:nvPr/>
        </p:nvSpPr>
        <p:spPr>
          <a:xfrm>
            <a:off x="975249" y="4146414"/>
            <a:ext cx="178767" cy="101269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70BCFF83-2560-49FC-9ED9-C02E924B8197}"/>
              </a:ext>
            </a:extLst>
          </p:cNvPr>
          <p:cNvSpPr/>
          <p:nvPr/>
        </p:nvSpPr>
        <p:spPr>
          <a:xfrm>
            <a:off x="975249" y="3968723"/>
            <a:ext cx="178767" cy="101269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83769802-9145-489B-A757-0711C08183A1}"/>
              </a:ext>
            </a:extLst>
          </p:cNvPr>
          <p:cNvSpPr/>
          <p:nvPr/>
        </p:nvSpPr>
        <p:spPr>
          <a:xfrm>
            <a:off x="975249" y="3791032"/>
            <a:ext cx="178767" cy="101269"/>
          </a:xfrm>
          <a:prstGeom prst="rect">
            <a:avLst/>
          </a:prstGeom>
          <a:solidFill>
            <a:srgbClr val="8064A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9E84E4F5-A426-41A2-8F79-232807617663}"/>
              </a:ext>
            </a:extLst>
          </p:cNvPr>
          <p:cNvSpPr/>
          <p:nvPr/>
        </p:nvSpPr>
        <p:spPr>
          <a:xfrm>
            <a:off x="975249" y="3613341"/>
            <a:ext cx="178767" cy="101269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6E8FF0E5-805F-42A1-89F3-0D6FEAECC81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337749" y="163522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8,16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982CDC8F-8F75-4B4A-ABA1-0BAFEF6B1A4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709306" y="1642056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4,524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BF534BB4-E0AA-4B45-952D-E0B1DEF66BA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479769" y="163266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9,539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C81506F3-47D0-46E1-8AD9-516EAF3151D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855850" y="16329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,85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6A32CC13-AE1D-434E-8AE9-E26D6E61E1E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0303" y="162720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5,818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153E1E0-EFCD-406A-9D16-71BFF6C052F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678282" y="2884799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0.0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1DFE7FC-62DE-4467-851A-F878803583D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084843" y="16352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67A714A-DE68-4042-A4A8-04AF85F7BA6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303588" y="166178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33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DFEF2DD0-CDBA-455F-A621-09A8C2EBF93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595204" y="16344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5,151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DD4A6BA0-C8DC-4BD9-BDC9-99D080389A6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830419" y="164576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4,388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A26147CF-72A2-47FC-858D-C8BA4E962D3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207867" y="164289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1,285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1468478-4A60-4A50-8C19-DF33A7458F7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652460" y="31359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9FABF7FB-55CA-41E1-BB9C-C130DEA6F24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257557" y="3135900"/>
            <a:ext cx="4678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E344AB68-8979-4802-A578-5D95A82A971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762376" y="31359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84E20CA1-562C-44A2-84BC-6CFC8060935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397057" y="3135900"/>
            <a:ext cx="45076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D4EC423E-2A6B-4A86-9A02-601420FCA7C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881041" y="31279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B8000364-C408-498D-8574-3A2BF464D1A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508103" y="3127962"/>
            <a:ext cx="44282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FF023624-7585-45A3-B714-F2D121BD629C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970874" y="31279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AD3B8A8D-81A6-45EF-8A86-AE939F3A468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590315" y="31279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C39FAB9B-2BB9-4590-A825-793DE9E522F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112805" y="31359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7AB2C90E-215D-48D9-9FCE-D72E84C7BEC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724627" y="3135900"/>
            <a:ext cx="463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26FEB477-2DED-45BE-88AF-F2BA4CE1277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212948" y="31413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71E42AA3-A1BE-4551-9D40-4CF5D799F1E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801909" y="3141300"/>
            <a:ext cx="4484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83" name="表格 82">
            <a:extLst>
              <a:ext uri="{FF2B5EF4-FFF2-40B4-BE49-F238E27FC236}">
                <a16:creationId xmlns:a16="http://schemas.microsoft.com/office/drawing/2014/main" id="{CF0D3AB4-47BE-4CE3-8F67-B2CCCE56A4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9763473"/>
              </p:ext>
            </p:extLst>
          </p:nvPr>
        </p:nvGraphicFramePr>
        <p:xfrm>
          <a:off x="2157940" y="1231021"/>
          <a:ext cx="659878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9798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0012253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（旺玥）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金装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源悦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graphicFrame>
        <p:nvGraphicFramePr>
          <p:cNvPr id="59" name="图表 58">
            <a:extLst>
              <a:ext uri="{FF2B5EF4-FFF2-40B4-BE49-F238E27FC236}">
                <a16:creationId xmlns:a16="http://schemas.microsoft.com/office/drawing/2014/main" id="{07CACB40-8F72-42DA-8B4A-5293D8FDD0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69060370"/>
              </p:ext>
            </p:extLst>
          </p:nvPr>
        </p:nvGraphicFramePr>
        <p:xfrm>
          <a:off x="2088921" y="1804988"/>
          <a:ext cx="6759515" cy="13110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</p:spTree>
    <p:extLst>
      <p:ext uri="{BB962C8B-B14F-4D97-AF65-F5344CB8AC3E}">
        <p14:creationId xmlns:p14="http://schemas.microsoft.com/office/powerpoint/2010/main" val="36993303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86" name="think-cell 幻灯片" r:id="rId29" imgW="499" imgH="508" progId="TCLayout.ActiveDocument.1">
                  <p:embed/>
                </p:oleObj>
              </mc:Choice>
              <mc:Fallback>
                <p:oleObj name="think-cell 幻灯片" r:id="rId29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Stage Valu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Friesland S1(+7.0%) and S3 (+5.4%) outperformed the market. </a:t>
            </a: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29C30D03-4B84-48E6-ABC3-79170D8DCA2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991859" y="2886075"/>
            <a:ext cx="95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2789EC1-4E8B-4AE6-9A60-E535016986C4}" type="datetime'''''''''''''''''''''''''''''''''''0'''''''''">
              <a:rPr lang="zh-CN" altLang="en-US" sz="800" b="1" smtClean="0">
                <a:latin typeface="Arial" panose="020B0604020202020204" pitchFamily="34" charset="0"/>
              </a:rPr>
              <a:pPr/>
              <a:t>0</a:t>
            </a:fld>
            <a:r>
              <a:rPr lang="en-US" altLang="zh-CN" sz="800" b="1" dirty="0">
                <a:latin typeface="Arial" panose="020B0604020202020204" pitchFamily="34" charset="0"/>
              </a:rPr>
              <a:t>.0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2" name="文本占位符 8">
            <a:extLst>
              <a:ext uri="{FF2B5EF4-FFF2-40B4-BE49-F238E27FC236}">
                <a16:creationId xmlns:a16="http://schemas.microsoft.com/office/drawing/2014/main" id="{EFDD9A42-70AB-4305-88E1-4A082FBC8CB1}"/>
              </a:ext>
            </a:extLst>
          </p:cNvPr>
          <p:cNvSpPr txBox="1">
            <a:spLocks/>
          </p:cNvSpPr>
          <p:nvPr/>
        </p:nvSpPr>
        <p:spPr>
          <a:xfrm>
            <a:off x="503238" y="1618663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kumimoji="1" lang="en-US" altLang="zh-CN" sz="1200" b="1" dirty="0">
                <a:ea typeface="Microsoft YaHei" panose="020B0503020204020204" pitchFamily="34" charset="-122"/>
              </a:rPr>
              <a:t>Sales value M</a:t>
            </a:r>
            <a:endParaRPr kumimoji="1" lang="zh-CN" altLang="en-US" sz="1200" b="1" dirty="0">
              <a:ea typeface="Microsoft YaHei" panose="020B0503020204020204" pitchFamily="34" charset="-122"/>
            </a:endParaRPr>
          </a:p>
        </p:txBody>
      </p:sp>
      <p:graphicFrame>
        <p:nvGraphicFramePr>
          <p:cNvPr id="178" name="表格 177">
            <a:extLst>
              <a:ext uri="{FF2B5EF4-FFF2-40B4-BE49-F238E27FC236}">
                <a16:creationId xmlns:a16="http://schemas.microsoft.com/office/drawing/2014/main" id="{3F574E4C-0E33-4B17-A94D-4A02BD690B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5156796"/>
              </p:ext>
            </p:extLst>
          </p:nvPr>
        </p:nvGraphicFramePr>
        <p:xfrm>
          <a:off x="1219199" y="3590908"/>
          <a:ext cx="7581599" cy="10657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3881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132953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132953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132953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132953">
                  <a:extLst>
                    <a:ext uri="{9D8B030D-6E8A-4147-A177-3AD203B41FA5}">
                      <a16:colId xmlns:a16="http://schemas.microsoft.com/office/drawing/2014/main" val="606427112"/>
                    </a:ext>
                  </a:extLst>
                </a:gridCol>
                <a:gridCol w="1132953">
                  <a:extLst>
                    <a:ext uri="{9D8B030D-6E8A-4147-A177-3AD203B41FA5}">
                      <a16:colId xmlns:a16="http://schemas.microsoft.com/office/drawing/2014/main" val="491142853"/>
                    </a:ext>
                  </a:extLst>
                </a:gridCol>
                <a:gridCol w="1132953">
                  <a:extLst>
                    <a:ext uri="{9D8B030D-6E8A-4147-A177-3AD203B41FA5}">
                      <a16:colId xmlns:a16="http://schemas.microsoft.com/office/drawing/2014/main" val="62142069"/>
                    </a:ext>
                  </a:extLst>
                </a:gridCol>
              </a:tblGrid>
              <a:tr h="17640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1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5.9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7.0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4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8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2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0.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2.0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7.3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3.8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3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5.3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5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29.3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9.3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683293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4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1.3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24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6.9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70.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218324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5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20.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0327483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其他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8969387"/>
                  </a:ext>
                </a:extLst>
              </a:tr>
            </a:tbl>
          </a:graphicData>
        </a:graphic>
      </p:graphicFrame>
      <p:sp>
        <p:nvSpPr>
          <p:cNvPr id="179" name="矩形 178">
            <a:extLst>
              <a:ext uri="{FF2B5EF4-FFF2-40B4-BE49-F238E27FC236}">
                <a16:creationId xmlns:a16="http://schemas.microsoft.com/office/drawing/2014/main" id="{C446E686-6C62-4E35-8358-C7B786D29BDD}"/>
              </a:ext>
            </a:extLst>
          </p:cNvPr>
          <p:cNvSpPr/>
          <p:nvPr/>
        </p:nvSpPr>
        <p:spPr>
          <a:xfrm>
            <a:off x="1002332" y="3626677"/>
            <a:ext cx="178767" cy="101269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0" name="矩形 179">
            <a:extLst>
              <a:ext uri="{FF2B5EF4-FFF2-40B4-BE49-F238E27FC236}">
                <a16:creationId xmlns:a16="http://schemas.microsoft.com/office/drawing/2014/main" id="{A717A258-BB6A-45D2-8584-F97DD49E327B}"/>
              </a:ext>
            </a:extLst>
          </p:cNvPr>
          <p:cNvSpPr/>
          <p:nvPr/>
        </p:nvSpPr>
        <p:spPr>
          <a:xfrm>
            <a:off x="1002332" y="3809282"/>
            <a:ext cx="178767" cy="101269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1" name="矩形 180">
            <a:extLst>
              <a:ext uri="{FF2B5EF4-FFF2-40B4-BE49-F238E27FC236}">
                <a16:creationId xmlns:a16="http://schemas.microsoft.com/office/drawing/2014/main" id="{9E380DBF-EF83-4DCE-BA33-63DC52143B2E}"/>
              </a:ext>
            </a:extLst>
          </p:cNvPr>
          <p:cNvSpPr/>
          <p:nvPr/>
        </p:nvSpPr>
        <p:spPr>
          <a:xfrm>
            <a:off x="1002332" y="3991887"/>
            <a:ext cx="178767" cy="101269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2" name="矩形 181">
            <a:extLst>
              <a:ext uri="{FF2B5EF4-FFF2-40B4-BE49-F238E27FC236}">
                <a16:creationId xmlns:a16="http://schemas.microsoft.com/office/drawing/2014/main" id="{11F62AA7-757F-4B3C-ADB5-C0D3416E024B}"/>
              </a:ext>
            </a:extLst>
          </p:cNvPr>
          <p:cNvSpPr/>
          <p:nvPr/>
        </p:nvSpPr>
        <p:spPr>
          <a:xfrm>
            <a:off x="1002332" y="4174492"/>
            <a:ext cx="178767" cy="101269"/>
          </a:xfrm>
          <a:prstGeom prst="rect">
            <a:avLst/>
          </a:prstGeom>
          <a:solidFill>
            <a:srgbClr val="8064A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3" name="矩形 182">
            <a:extLst>
              <a:ext uri="{FF2B5EF4-FFF2-40B4-BE49-F238E27FC236}">
                <a16:creationId xmlns:a16="http://schemas.microsoft.com/office/drawing/2014/main" id="{F2D32E2F-9038-414A-ACF5-B33FACB70459}"/>
              </a:ext>
            </a:extLst>
          </p:cNvPr>
          <p:cNvSpPr/>
          <p:nvPr/>
        </p:nvSpPr>
        <p:spPr>
          <a:xfrm>
            <a:off x="1002332" y="4357097"/>
            <a:ext cx="178767" cy="101269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3894E37D-FAB8-4F20-900F-65E3919C007B}"/>
              </a:ext>
            </a:extLst>
          </p:cNvPr>
          <p:cNvSpPr/>
          <p:nvPr/>
        </p:nvSpPr>
        <p:spPr>
          <a:xfrm>
            <a:off x="1002331" y="4539702"/>
            <a:ext cx="178767" cy="101269"/>
          </a:xfrm>
          <a:prstGeom prst="rect">
            <a:avLst/>
          </a:prstGeom>
          <a:solidFill>
            <a:srgbClr val="F7964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文本占位符 8">
            <a:extLst>
              <a:ext uri="{FF2B5EF4-FFF2-40B4-BE49-F238E27FC236}">
                <a16:creationId xmlns:a16="http://schemas.microsoft.com/office/drawing/2014/main" id="{D8844767-8034-45C4-8C04-3D6C431217AF}"/>
              </a:ext>
            </a:extLst>
          </p:cNvPr>
          <p:cNvSpPr txBox="1">
            <a:spLocks/>
          </p:cNvSpPr>
          <p:nvPr/>
        </p:nvSpPr>
        <p:spPr>
          <a:xfrm>
            <a:off x="1115916" y="3380518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1" lang="en-US" altLang="zh-CN" sz="900" dirty="0">
                <a:ea typeface="Microsoft YaHei" panose="020B0503020204020204" pitchFamily="34" charset="-122"/>
              </a:rPr>
              <a:t>YoY GR%</a:t>
            </a:r>
            <a:endParaRPr kumimoji="1" lang="zh-CN" altLang="en-US" sz="900" dirty="0">
              <a:ea typeface="Microsoft YaHei" panose="020B0503020204020204" pitchFamily="34" charset="-122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3C4519AD-4232-47D8-BBA4-3315E1229EF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669048" y="30978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7EC5C47B-C28F-4B34-AEC2-E062480561B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280869" y="3097800"/>
            <a:ext cx="4678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7A58189E-A832-4FE4-A4EC-FAD80F60274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768204" y="30978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973D97FD-E767-4C38-BEB4-B95C397D24C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402885" y="3097800"/>
            <a:ext cx="45076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C663735A-F43C-46CC-903F-D1BFEF32DF5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881041" y="30898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34574BD1-7DEB-470E-931F-67B5E7269B0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508103" y="3089862"/>
            <a:ext cx="44282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0416F904-2FA8-4CE7-A272-16DCDE96D03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993734" y="30898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527881A2-E0F4-4B72-88C2-471E6C736FE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605555" y="30898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3ED2C8F8-7DB0-464C-9889-813A1822197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116389" y="30978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240BE204-0612-4C5C-9F65-0E61B46609C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728211" y="3097800"/>
            <a:ext cx="463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4C10EE75-520B-4817-A5D6-CEDB2336BE8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212948" y="309558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CE8154FD-BD2C-491F-8FBD-76E32A641B7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824769" y="3103200"/>
            <a:ext cx="4484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4" name="表格 73">
            <a:extLst>
              <a:ext uri="{FF2B5EF4-FFF2-40B4-BE49-F238E27FC236}">
                <a16:creationId xmlns:a16="http://schemas.microsoft.com/office/drawing/2014/main" id="{87BA8880-5A9F-407C-9785-B10EDEC0FB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519022"/>
              </p:ext>
            </p:extLst>
          </p:nvPr>
        </p:nvGraphicFramePr>
        <p:xfrm>
          <a:off x="2165560" y="1231021"/>
          <a:ext cx="659878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9798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0012253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（旺玥）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金装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源悦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EE66D90B-2145-4A88-B617-8A1D8199574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345369" y="163522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1,919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83F6BC42-6558-42A3-A178-9BF0746D42D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16926" y="1642056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1,075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FA60467A-B738-41DE-A8C8-8373977FAA6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495009" y="163266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,148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C1737E6D-10A2-4627-8BC7-180DE5702C1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871090" y="16329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,04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6887DFBC-392B-4058-8611-EE0C0BD85DB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970303" y="162720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,595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22333193-F970-41CA-9DAA-0BBF38BCB31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716382" y="2839079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0.0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0FC9EFAD-06C0-4216-8787-8E7EA8E26EB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084843" y="16352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6C8A3EEC-E565-4200-8B12-8D5E3ADA852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305318" y="163305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18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8374E337-6952-4A86-A1C4-29333CF6772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602824" y="16344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,334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D8D8C7AF-734D-49A6-95B6-5AF11305B57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830794" y="162535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815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B6B172F0-3D69-43B5-984D-7918D35FECC0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189551" y="161973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53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41" name="图表 40">
            <a:extLst>
              <a:ext uri="{FF2B5EF4-FFF2-40B4-BE49-F238E27FC236}">
                <a16:creationId xmlns:a16="http://schemas.microsoft.com/office/drawing/2014/main" id="{55C28828-C257-4D5B-AA21-5529A4A7E56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705620"/>
              </p:ext>
            </p:extLst>
          </p:nvPr>
        </p:nvGraphicFramePr>
        <p:xfrm>
          <a:off x="2094348" y="1798903"/>
          <a:ext cx="6756400" cy="1274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</p:spTree>
    <p:extLst>
      <p:ext uri="{BB962C8B-B14F-4D97-AF65-F5344CB8AC3E}">
        <p14:creationId xmlns:p14="http://schemas.microsoft.com/office/powerpoint/2010/main" val="13894878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06" name="think-cell 幻灯片" r:id="rId29" imgW="499" imgH="508" progId="TCLayout.ActiveDocument.1">
                  <p:embed/>
                </p:oleObj>
              </mc:Choice>
              <mc:Fallback>
                <p:oleObj name="think-cell 幻灯片" r:id="rId29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Stage Volum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Friesland S1 showed a positive growth by +0.6%.</a:t>
            </a:r>
          </a:p>
        </p:txBody>
      </p:sp>
      <p:graphicFrame>
        <p:nvGraphicFramePr>
          <p:cNvPr id="178" name="表格 177">
            <a:extLst>
              <a:ext uri="{FF2B5EF4-FFF2-40B4-BE49-F238E27FC236}">
                <a16:creationId xmlns:a16="http://schemas.microsoft.com/office/drawing/2014/main" id="{3F574E4C-0E33-4B17-A94D-4A02BD690B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2459628"/>
              </p:ext>
            </p:extLst>
          </p:nvPr>
        </p:nvGraphicFramePr>
        <p:xfrm>
          <a:off x="1219199" y="3590908"/>
          <a:ext cx="7578771" cy="110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3549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606427112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3341058194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491142853"/>
                    </a:ext>
                  </a:extLst>
                </a:gridCol>
              </a:tblGrid>
              <a:tr h="183600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S1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8.2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0.6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5.4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8.6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83600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S2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.6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9.3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7.0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5.7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83600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S3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.0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5.5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31.2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72.0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683293"/>
                  </a:ext>
                </a:extLst>
              </a:tr>
              <a:tr h="183600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S4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3.0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1.7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7.5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72.3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2183247"/>
                  </a:ext>
                </a:extLst>
              </a:tr>
              <a:tr h="183600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S5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34.5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0327483"/>
                  </a:ext>
                </a:extLst>
              </a:tr>
              <a:tr h="183600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其他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FF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FF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FF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FF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8969387"/>
                  </a:ext>
                </a:extLst>
              </a:tr>
            </a:tbl>
          </a:graphicData>
        </a:graphic>
      </p:graphicFrame>
      <p:sp>
        <p:nvSpPr>
          <p:cNvPr id="179" name="矩形 178">
            <a:extLst>
              <a:ext uri="{FF2B5EF4-FFF2-40B4-BE49-F238E27FC236}">
                <a16:creationId xmlns:a16="http://schemas.microsoft.com/office/drawing/2014/main" id="{C446E686-6C62-4E35-8358-C7B786D29BDD}"/>
              </a:ext>
            </a:extLst>
          </p:cNvPr>
          <p:cNvSpPr/>
          <p:nvPr/>
        </p:nvSpPr>
        <p:spPr>
          <a:xfrm>
            <a:off x="1002332" y="3626677"/>
            <a:ext cx="178767" cy="101269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0" name="矩形 179">
            <a:extLst>
              <a:ext uri="{FF2B5EF4-FFF2-40B4-BE49-F238E27FC236}">
                <a16:creationId xmlns:a16="http://schemas.microsoft.com/office/drawing/2014/main" id="{A717A258-BB6A-45D2-8584-F97DD49E327B}"/>
              </a:ext>
            </a:extLst>
          </p:cNvPr>
          <p:cNvSpPr/>
          <p:nvPr/>
        </p:nvSpPr>
        <p:spPr>
          <a:xfrm>
            <a:off x="1002332" y="3809282"/>
            <a:ext cx="178767" cy="101269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1" name="矩形 180">
            <a:extLst>
              <a:ext uri="{FF2B5EF4-FFF2-40B4-BE49-F238E27FC236}">
                <a16:creationId xmlns:a16="http://schemas.microsoft.com/office/drawing/2014/main" id="{9E380DBF-EF83-4DCE-BA33-63DC52143B2E}"/>
              </a:ext>
            </a:extLst>
          </p:cNvPr>
          <p:cNvSpPr/>
          <p:nvPr/>
        </p:nvSpPr>
        <p:spPr>
          <a:xfrm>
            <a:off x="1002332" y="3991887"/>
            <a:ext cx="178767" cy="101269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2" name="矩形 181">
            <a:extLst>
              <a:ext uri="{FF2B5EF4-FFF2-40B4-BE49-F238E27FC236}">
                <a16:creationId xmlns:a16="http://schemas.microsoft.com/office/drawing/2014/main" id="{11F62AA7-757F-4B3C-ADB5-C0D3416E024B}"/>
              </a:ext>
            </a:extLst>
          </p:cNvPr>
          <p:cNvSpPr/>
          <p:nvPr/>
        </p:nvSpPr>
        <p:spPr>
          <a:xfrm>
            <a:off x="1002332" y="4174492"/>
            <a:ext cx="178767" cy="101269"/>
          </a:xfrm>
          <a:prstGeom prst="rect">
            <a:avLst/>
          </a:prstGeom>
          <a:solidFill>
            <a:srgbClr val="8064A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3" name="矩形 182">
            <a:extLst>
              <a:ext uri="{FF2B5EF4-FFF2-40B4-BE49-F238E27FC236}">
                <a16:creationId xmlns:a16="http://schemas.microsoft.com/office/drawing/2014/main" id="{F2D32E2F-9038-414A-ACF5-B33FACB70459}"/>
              </a:ext>
            </a:extLst>
          </p:cNvPr>
          <p:cNvSpPr/>
          <p:nvPr/>
        </p:nvSpPr>
        <p:spPr>
          <a:xfrm>
            <a:off x="1002332" y="4357097"/>
            <a:ext cx="178767" cy="101269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3894E37D-FAB8-4F20-900F-65E3919C007B}"/>
              </a:ext>
            </a:extLst>
          </p:cNvPr>
          <p:cNvSpPr/>
          <p:nvPr/>
        </p:nvSpPr>
        <p:spPr>
          <a:xfrm>
            <a:off x="1002331" y="4539702"/>
            <a:ext cx="178767" cy="101269"/>
          </a:xfrm>
          <a:prstGeom prst="rect">
            <a:avLst/>
          </a:prstGeom>
          <a:solidFill>
            <a:srgbClr val="F7964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文本占位符 8">
            <a:extLst>
              <a:ext uri="{FF2B5EF4-FFF2-40B4-BE49-F238E27FC236}">
                <a16:creationId xmlns:a16="http://schemas.microsoft.com/office/drawing/2014/main" id="{D8844767-8034-45C4-8C04-3D6C431217AF}"/>
              </a:ext>
            </a:extLst>
          </p:cNvPr>
          <p:cNvSpPr txBox="1">
            <a:spLocks/>
          </p:cNvSpPr>
          <p:nvPr/>
        </p:nvSpPr>
        <p:spPr>
          <a:xfrm>
            <a:off x="1115916" y="3380518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1" lang="en-US" altLang="zh-CN" sz="900" dirty="0">
                <a:ea typeface="Microsoft YaHei" panose="020B0503020204020204" pitchFamily="34" charset="-122"/>
              </a:rPr>
              <a:t>YoY GR%</a:t>
            </a:r>
            <a:endParaRPr kumimoji="1" lang="zh-CN" altLang="en-US" sz="900" dirty="0">
              <a:ea typeface="Microsoft YaHei" panose="020B0503020204020204" pitchFamily="34" charset="-122"/>
            </a:endParaRPr>
          </a:p>
        </p:txBody>
      </p:sp>
      <p:sp>
        <p:nvSpPr>
          <p:cNvPr id="37" name="文本占位符 8">
            <a:extLst>
              <a:ext uri="{FF2B5EF4-FFF2-40B4-BE49-F238E27FC236}">
                <a16:creationId xmlns:a16="http://schemas.microsoft.com/office/drawing/2014/main" id="{E63CCC06-89D2-4997-8B11-673B146A59FE}"/>
              </a:ext>
            </a:extLst>
          </p:cNvPr>
          <p:cNvSpPr txBox="1">
            <a:spLocks/>
          </p:cNvSpPr>
          <p:nvPr/>
        </p:nvSpPr>
        <p:spPr>
          <a:xfrm>
            <a:off x="503238" y="1618663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kumimoji="1" lang="en-US" altLang="zh-CN" sz="1200" b="1" dirty="0">
                <a:ea typeface="Microsoft YaHei" panose="020B0503020204020204" pitchFamily="34" charset="-122"/>
              </a:rPr>
              <a:t>Sales volume ton</a:t>
            </a:r>
            <a:endParaRPr kumimoji="1" lang="zh-CN" altLang="en-US" sz="1200" b="1" dirty="0">
              <a:ea typeface="Microsoft YaHei" panose="020B0503020204020204" pitchFamily="34" charset="-122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8CFF1456-BFF9-4465-8A21-A4F89E65687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8009004" y="2925083"/>
            <a:ext cx="95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0.00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315549A9-2F2C-448C-8C73-55DD1656AD7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669048" y="30978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DFBCFB36-CA04-4203-BFFD-E6EB8BC38A9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280869" y="3097800"/>
            <a:ext cx="4678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7DF854FC-DC22-49EC-AB41-DBBDC824918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768204" y="30978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8BEBED2D-3CAB-4982-BEBC-40D726EC2C3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402885" y="3097800"/>
            <a:ext cx="45076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A147D759-5298-4966-87A9-F7AA310D8ED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894489" y="30898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A6ACA06B-760F-4F16-92EA-0D0384CB165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521551" y="3089862"/>
            <a:ext cx="44282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7D52EE7F-C333-4D51-A49E-66B3DABF331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007182" y="30898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47BD351A-7730-48FC-9B8D-6E1047777BD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619003" y="30898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80C886D4-B556-4A39-9081-5DCE420D46D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123113" y="30978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72072B8-8BD5-4E01-97C7-D6682AD21A5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741659" y="3097800"/>
            <a:ext cx="463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B5AC255F-C3BD-4F57-9C37-138FC2624AA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228188" y="309558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76240770-392A-41F2-AB29-424335B2529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840009" y="3103200"/>
            <a:ext cx="4484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Oct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63" name="表格 62">
            <a:extLst>
              <a:ext uri="{FF2B5EF4-FFF2-40B4-BE49-F238E27FC236}">
                <a16:creationId xmlns:a16="http://schemas.microsoft.com/office/drawing/2014/main" id="{25FB4354-002F-4A4C-9D27-0FD419ECB5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9771439"/>
              </p:ext>
            </p:extLst>
          </p:nvPr>
        </p:nvGraphicFramePr>
        <p:xfrm>
          <a:off x="2173180" y="1231021"/>
          <a:ext cx="659878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9798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0012253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（旺玥）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金装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源悦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087B8405-E611-46EB-9762-62EC9A205B4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352989" y="165808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8,16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24CFD991-41D8-47FE-808D-E468DDA1844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24546" y="1664916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4,524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47F21E70-C6D7-4A66-B132-3B0589FC1CD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510249" y="165552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9,539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C059B470-FD5E-45F0-ACB4-E3EAC45277B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878710" y="165583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,85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11F4B399-3BEE-4611-B05F-697E93897FF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985543" y="165006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5,818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36B71BCC-9B13-4414-B2D4-250F93D500E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724002" y="2869559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0.0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9C5A5A79-7B68-4454-BC3C-00890B1E731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100083" y="165808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35E8F4CA-B920-422E-92DB-709668FDFAE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320558" y="165591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33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89C0A3CD-183F-4DE2-8EE4-EB06EC8A584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618064" y="165729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5,151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C20E275A-1C11-49E2-A067-29186FE4BD3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846034" y="164821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4,388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84F81302-0F34-45A7-9BDD-BB9A182F480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204791" y="164259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1,285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42" name="图表 41">
            <a:extLst>
              <a:ext uri="{FF2B5EF4-FFF2-40B4-BE49-F238E27FC236}">
                <a16:creationId xmlns:a16="http://schemas.microsoft.com/office/drawing/2014/main" id="{EB2A44B2-EA7D-4458-8641-E32AEAED16A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67011043"/>
              </p:ext>
            </p:extLst>
          </p:nvPr>
        </p:nvGraphicFramePr>
        <p:xfrm>
          <a:off x="2107151" y="1828730"/>
          <a:ext cx="6756400" cy="1274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</p:spTree>
    <p:extLst>
      <p:ext uri="{BB962C8B-B14F-4D97-AF65-F5344CB8AC3E}">
        <p14:creationId xmlns:p14="http://schemas.microsoft.com/office/powerpoint/2010/main" val="25770113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499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E1&quot; g=&quot;87&quot; b=&quot;19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r3nsDnFRPAUjMF986C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oxM_CnJYUt81ml7KvJ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gVv8Wh3yeMw8MzD6QM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KFDjK5GMvozQYoeIFp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Gswc87pvBA7UkQa4yW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6YvEWRCRtM940bhJQdN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INGW8rB6Pwmt.sqUa5C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o_FaGo7wXf7alJobmVX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JvqMcOU7q6e0guaakb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KImAwBMUluRXoeFfyzb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2_F3rbPgSl.d_mfQER5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INGW8rB6Pwmt.sqUa5C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icf39_jqaya.fJzp51O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o_FaGo7wXf7alJobmVX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vfRQIMc_0Zu9BYnqN2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2XXzXnTS9WTyQRg.k1V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2Ih1guVzyzhHa53hIku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LX38GHWj_eeUdoidM.8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icf39_jqaya.fJzp51O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JvqMcOU7q6e0guaakbw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vfRQIMc_0Zu9BYnqN2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2XXzXnTS9WTyQRg.k1V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2Ih1guVzyzhHa53hIku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LX38GHWj_eeUdoidM.8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6YvEWRCRtM940bhJQdN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b2O2nxvKG.RGYHqwncz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r3nsDnFRPAUjMF986C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oxM_CnJYUt81ml7KvJ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gVv8Wh3yeMw8MzD6QM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KImAwBMUluRXoeFfyzb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KFDjK5GMvozQYoeIFp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Gswc87pvBA7UkQa4yW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2_F3rbPgSl.d_mfQER5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b2O2nxvKG.RGYHqwncz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r3nsDnFRPAUjMF986C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oxM_CnJYUt81ml7KvJ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gVv8Wh3yeMw8MzD6QM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KFDjK5GMvozQYoeIFp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Gswc87pvBA7UkQa4yW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b2O2nxvKG.RGYHqwncz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r3nsDnFRPAUjMF986C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oxM_CnJYUt81ml7KvJ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gVv8Wh3yeMw8MzD6QM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KFDjK5GMvozQYoeIFp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Gswc87pvBA7UkQa4yW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b2O2nxvKG.RGYHqwncz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r3nsDnFRPAUjMF986C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oxM_CnJYUt81ml7KvJ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gVv8Wh3yeMw8MzD6QM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KFDjK5GMvozQYoeIFp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Gswc87pvBA7UkQa4yW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r3nsDnFRPAUjMF986C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oxM_CnJYUt81ml7KvJ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gVv8Wh3yeMw8MzD6QM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KFDjK5GMvozQYoeIFp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Gswc87pvBA7UkQa4yW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icf39_jqaya.fJzp51O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vfRQIMc_0Zu9BYnqN2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2XXzXnTS9WTyQRg.k1V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2Ih1guVzyzhHa53hIku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LX38GHWj_eeUdoidM.8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icf39_jqaya.fJzp51O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vfRQIMc_0Zu9BYnqN2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2XXzXnTS9WTyQRg.k1V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2Ih1guVzyzhHa53hIku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LX38GHWj_eeUdoidM.8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Nint">
      <a:majorFont>
        <a:latin typeface="Poppins"/>
        <a:ea typeface="思源黑体 CN Bold"/>
        <a:cs typeface=""/>
      </a:majorFont>
      <a:minorFont>
        <a:latin typeface="Poppins"/>
        <a:ea typeface="思源黑体 CN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Nint">
      <a:majorFont>
        <a:latin typeface="Poppins"/>
        <a:ea typeface="思源黑体 CN Bold"/>
        <a:cs typeface=""/>
      </a:majorFont>
      <a:minorFont>
        <a:latin typeface="Poppins"/>
        <a:ea typeface="思源黑体 CN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E64AEEDD9B7A4D93545ACBE97D4615" ma:contentTypeVersion="2" ma:contentTypeDescription="Create a new document." ma:contentTypeScope="" ma:versionID="f49002b78e3a4a71b814eef46a983816">
  <xsd:schema xmlns:xsd="http://www.w3.org/2001/XMLSchema" xmlns:xs="http://www.w3.org/2001/XMLSchema" xmlns:p="http://schemas.microsoft.com/office/2006/metadata/properties" xmlns:ns2="http://schemas.microsoft.com/sharepoint/v3/fields" targetNamespace="http://schemas.microsoft.com/office/2006/metadata/properties" ma:root="true" ma:fieldsID="38f6db2dd0d9a0cf6a8dc37be32b365b" ns2:_=""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Status" minOccurs="0"/>
                <xsd:element ref="ns2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8" nillable="true" ma:displayName="Status" ma:default="Not Started" ma:internalName="_Status">
      <xsd:simpleType>
        <xsd:union memberTypes="dms:Text">
          <xsd:simpleType>
            <xsd:restriction base="dms:Choice">
              <xsd:enumeration value="Not Started"/>
              <xsd:enumeration value="Draft"/>
              <xsd:enumeration value="Reviewed"/>
              <xsd:enumeration value="Scheduled"/>
              <xsd:enumeration value="Published"/>
              <xsd:enumeration value="Final"/>
              <xsd:enumeration value="Expired"/>
            </xsd:restriction>
          </xsd:simpleType>
        </xsd:union>
      </xsd:simpleType>
    </xsd:element>
    <xsd:element name="_Version" ma:index="9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Status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Status xmlns="http://schemas.microsoft.com/sharepoint/v3/fields">Not Started</_Status>
  </documentManagement>
</p:properties>
</file>

<file path=customXml/itemProps1.xml><?xml version="1.0" encoding="utf-8"?>
<ds:datastoreItem xmlns:ds="http://schemas.openxmlformats.org/officeDocument/2006/customXml" ds:itemID="{E4214858-785C-42F7-BE66-6D0E79395F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7D2A1B0-FF3E-4009-940D-AED0EB70AA2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B6F2769-7194-4217-93D3-3AF3A4742282}">
  <ds:schemaRefs>
    <ds:schemaRef ds:uri="http://www.w3.org/XML/1998/namespace"/>
    <ds:schemaRef ds:uri="http://purl.org/dc/terms/"/>
    <ds:schemaRef ds:uri="http://schemas.microsoft.com/office/2006/documentManagement/types"/>
    <ds:schemaRef ds:uri="http://schemas.microsoft.com/sharepoint/v3/fields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NEMasterTemplateForThemePreview.pptx</Template>
  <TotalTime>21426</TotalTime>
  <Words>2648</Words>
  <Application>Microsoft Office PowerPoint</Application>
  <PresentationFormat>全屏显示(16:9)</PresentationFormat>
  <Paragraphs>1002</Paragraphs>
  <Slides>10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24" baseType="lpstr">
      <vt:lpstr>Microsoft Yahei</vt:lpstr>
      <vt:lpstr>Narrow</vt:lpstr>
      <vt:lpstr>Poppins</vt:lpstr>
      <vt:lpstr>Source Han Serif SC</vt:lpstr>
      <vt:lpstr>等线</vt:lpstr>
      <vt:lpstr>思源黑体 CN Bold</vt:lpstr>
      <vt:lpstr>思源黑体 CN Light</vt:lpstr>
      <vt:lpstr>思源黑体 CN Regular</vt:lpstr>
      <vt:lpstr>Microsoft YaHei</vt:lpstr>
      <vt:lpstr>Microsoft YaHei</vt:lpstr>
      <vt:lpstr>Arial</vt:lpstr>
      <vt:lpstr>Office Theme</vt:lpstr>
      <vt:lpstr>1_Office Theme</vt:lpstr>
      <vt:lpstr>think-cell 幻灯片</vt:lpstr>
      <vt:lpstr>Friesland Monthly Report</vt:lpstr>
      <vt:lpstr>Total Category vs Friesland Performance Summary</vt:lpstr>
      <vt:lpstr>IMF &amp; Friesland Channel Value Importance In B2C In-border</vt:lpstr>
      <vt:lpstr>IMF &amp; Friesland Channel Volume Importance In B2C In-border</vt:lpstr>
      <vt:lpstr>IMF &amp; Friesland Price Tier Value Importance In B2C In-border</vt:lpstr>
      <vt:lpstr>IMF &amp; Friesland Price Tier Value Importance In B2C In-border</vt:lpstr>
      <vt:lpstr>IMF &amp; Friesland Price Tier Volume Importance In B2C In-border</vt:lpstr>
      <vt:lpstr>IMF &amp; Friesland Stage Value Importance In B2C In-border</vt:lpstr>
      <vt:lpstr>IMF &amp; Friesland Stage Volume Importance In B2C In-border</vt:lpstr>
      <vt:lpstr>THANK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leNewTemplate</dc:title>
  <dc:creator>Diana</dc:creator>
  <cp:lastModifiedBy>zeng.xiangyan</cp:lastModifiedBy>
  <cp:revision>376</cp:revision>
  <dcterms:created xsi:type="dcterms:W3CDTF">2010-04-12T23:12:02Z</dcterms:created>
  <dcterms:modified xsi:type="dcterms:W3CDTF">2023-11-16T07:35:46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E64AEEDD9B7A4D93545ACBE97D4615</vt:lpwstr>
  </property>
</Properties>
</file>